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1"/>
  </p:notesMasterIdLst>
  <p:sldIdLst>
    <p:sldId id="256" r:id="rId5"/>
    <p:sldId id="258" r:id="rId6"/>
    <p:sldId id="2147375275" r:id="rId7"/>
    <p:sldId id="2147476760" r:id="rId8"/>
    <p:sldId id="2147476755" r:id="rId9"/>
    <p:sldId id="2147375801" r:id="rId10"/>
    <p:sldId id="2147476189" r:id="rId11"/>
    <p:sldId id="2147476667" r:id="rId12"/>
    <p:sldId id="2147476752" r:id="rId13"/>
    <p:sldId id="2147476753" r:id="rId14"/>
    <p:sldId id="2147476759" r:id="rId15"/>
    <p:sldId id="2147476144" r:id="rId16"/>
    <p:sldId id="2147476754" r:id="rId17"/>
    <p:sldId id="2147476758" r:id="rId18"/>
    <p:sldId id="2147476145" r:id="rId19"/>
    <p:sldId id="2147476146" r:id="rId20"/>
  </p:sldIdLst>
  <p:sldSz cx="12192000" cy="6858000"/>
  <p:notesSz cx="6858000" cy="91440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B2B7"/>
    <a:srgbClr val="E7E5EC"/>
    <a:srgbClr val="1E1D26"/>
    <a:srgbClr val="D70F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019DA0-B49B-4A08-99D7-B1353B87261A}" v="2" dt="2024-11-20T14:16:12.160"/>
    <p1510:client id="{B815062A-1CE0-47B2-B6FA-D2837D2FEAA4}" v="1079" dt="2024-11-20T14:45:39.325"/>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49"/>
    <p:restoredTop sz="96283" autoAdjust="0"/>
  </p:normalViewPr>
  <p:slideViewPr>
    <p:cSldViewPr snapToGrid="0" showGuides="1">
      <p:cViewPr varScale="1">
        <p:scale>
          <a:sx n="82" d="100"/>
          <a:sy n="82" d="100"/>
        </p:scale>
        <p:origin x="797" y="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73" d="100"/>
        <a:sy n="173"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sus Alberto Lopez Garcia" userId="dd705d68-a478-4da4-af3b-ade8c45d6411" providerId="ADAL" clId="{09019DA0-B49B-4A08-99D7-B1353B87261A}"/>
    <pc:docChg chg="modSld">
      <pc:chgData name="Jesus Alberto Lopez Garcia" userId="dd705d68-a478-4da4-af3b-ade8c45d6411" providerId="ADAL" clId="{09019DA0-B49B-4A08-99D7-B1353B87261A}" dt="2024-11-20T14:16:12.160" v="1" actId="20577"/>
      <pc:docMkLst>
        <pc:docMk/>
      </pc:docMkLst>
      <pc:sldChg chg="modSp mod">
        <pc:chgData name="Jesus Alberto Lopez Garcia" userId="dd705d68-a478-4da4-af3b-ade8c45d6411" providerId="ADAL" clId="{09019DA0-B49B-4A08-99D7-B1353B87261A}" dt="2024-11-20T14:16:12.160" v="1" actId="20577"/>
        <pc:sldMkLst>
          <pc:docMk/>
          <pc:sldMk cId="2025418505" sldId="2147476753"/>
        </pc:sldMkLst>
        <pc:spChg chg="mod">
          <ac:chgData name="Jesus Alberto Lopez Garcia" userId="dd705d68-a478-4da4-af3b-ade8c45d6411" providerId="ADAL" clId="{09019DA0-B49B-4A08-99D7-B1353B87261A}" dt="2024-11-20T14:16:12.160" v="1" actId="20577"/>
          <ac:spMkLst>
            <pc:docMk/>
            <pc:sldMk cId="2025418505" sldId="2147476753"/>
            <ac:spMk id="64" creationId="{2BF5331A-4A85-F5BF-EDB0-61CD26440FD4}"/>
          </ac:spMkLst>
        </pc:spChg>
      </pc:sldChg>
    </pc:docChg>
  </pc:docChgLst>
  <pc:docChgLst>
    <pc:chgData name="Douglas Daniel Reinoso Peña" userId="60d62e81-f7d7-4b4c-92cc-63fb6a945bb4" providerId="ADAL" clId="{B815062A-1CE0-47B2-B6FA-D2837D2FEAA4}"/>
    <pc:docChg chg="undo redo custSel addSld delSld modSld sldOrd modMainMaster">
      <pc:chgData name="Douglas Daniel Reinoso Peña" userId="60d62e81-f7d7-4b4c-92cc-63fb6a945bb4" providerId="ADAL" clId="{B815062A-1CE0-47B2-B6FA-D2837D2FEAA4}" dt="2024-11-20T14:47:41.945" v="7134" actId="20577"/>
      <pc:docMkLst>
        <pc:docMk/>
      </pc:docMkLst>
      <pc:sldChg chg="addSp delSp modSp mod">
        <pc:chgData name="Douglas Daniel Reinoso Peña" userId="60d62e81-f7d7-4b4c-92cc-63fb6a945bb4" providerId="ADAL" clId="{B815062A-1CE0-47B2-B6FA-D2837D2FEAA4}" dt="2024-11-18T21:05:33.796" v="296"/>
        <pc:sldMkLst>
          <pc:docMk/>
          <pc:sldMk cId="4158581564" sldId="256"/>
        </pc:sldMkLst>
        <pc:spChg chg="mod">
          <ac:chgData name="Douglas Daniel Reinoso Peña" userId="60d62e81-f7d7-4b4c-92cc-63fb6a945bb4" providerId="ADAL" clId="{B815062A-1CE0-47B2-B6FA-D2837D2FEAA4}" dt="2024-11-18T21:05:33.794" v="294" actId="948"/>
          <ac:spMkLst>
            <pc:docMk/>
            <pc:sldMk cId="4158581564" sldId="256"/>
            <ac:spMk id="2" creationId="{345EA29A-0E7D-BE67-1C51-22F76235AC50}"/>
          </ac:spMkLst>
        </pc:spChg>
        <pc:spChg chg="mod">
          <ac:chgData name="Douglas Daniel Reinoso Peña" userId="60d62e81-f7d7-4b4c-92cc-63fb6a945bb4" providerId="ADAL" clId="{B815062A-1CE0-47B2-B6FA-D2837D2FEAA4}" dt="2024-11-18T21:05:25.695" v="292" actId="20577"/>
          <ac:spMkLst>
            <pc:docMk/>
            <pc:sldMk cId="4158581564" sldId="256"/>
            <ac:spMk id="3" creationId="{BCD24668-E7EC-A939-7718-21784CC67EC2}"/>
          </ac:spMkLst>
        </pc:spChg>
        <pc:spChg chg="add del mod modVis">
          <ac:chgData name="Douglas Daniel Reinoso Peña" userId="60d62e81-f7d7-4b4c-92cc-63fb6a945bb4" providerId="ADAL" clId="{B815062A-1CE0-47B2-B6FA-D2837D2FEAA4}" dt="2024-11-18T21:05:06.313" v="220"/>
          <ac:spMkLst>
            <pc:docMk/>
            <pc:sldMk cId="4158581564" sldId="256"/>
            <ac:spMk id="4" creationId="{91183F55-399E-56D2-5159-35B8D0D43220}"/>
          </ac:spMkLst>
        </pc:spChg>
        <pc:graphicFrameChg chg="add mod ord modVis">
          <ac:chgData name="Douglas Daniel Reinoso Peña" userId="60d62e81-f7d7-4b4c-92cc-63fb6a945bb4" providerId="ADAL" clId="{B815062A-1CE0-47B2-B6FA-D2837D2FEAA4}" dt="2024-11-18T21:05:33.796" v="296"/>
          <ac:graphicFrameMkLst>
            <pc:docMk/>
            <pc:sldMk cId="4158581564" sldId="256"/>
            <ac:graphicFrameMk id="5" creationId="{4D6F1A7B-2542-80AA-59C6-531215C26A26}"/>
          </ac:graphicFrameMkLst>
        </pc:graphicFrameChg>
      </pc:sldChg>
      <pc:sldChg chg="new del">
        <pc:chgData name="Douglas Daniel Reinoso Peña" userId="60d62e81-f7d7-4b4c-92cc-63fb6a945bb4" providerId="ADAL" clId="{B815062A-1CE0-47B2-B6FA-D2837D2FEAA4}" dt="2024-11-18T20:49:50.647" v="5" actId="47"/>
        <pc:sldMkLst>
          <pc:docMk/>
          <pc:sldMk cId="682507933" sldId="257"/>
        </pc:sldMkLst>
      </pc:sldChg>
      <pc:sldChg chg="new del">
        <pc:chgData name="Douglas Daniel Reinoso Peña" userId="60d62e81-f7d7-4b4c-92cc-63fb6a945bb4" providerId="ADAL" clId="{B815062A-1CE0-47B2-B6FA-D2837D2FEAA4}" dt="2024-11-19T12:32:49.296" v="1249" actId="47"/>
        <pc:sldMkLst>
          <pc:docMk/>
          <pc:sldMk cId="2037587012" sldId="257"/>
        </pc:sldMkLst>
      </pc:sldChg>
      <pc:sldChg chg="new del">
        <pc:chgData name="Douglas Daniel Reinoso Peña" userId="60d62e81-f7d7-4b4c-92cc-63fb6a945bb4" providerId="ADAL" clId="{B815062A-1CE0-47B2-B6FA-D2837D2FEAA4}" dt="2024-11-18T20:49:47.511" v="4" actId="47"/>
        <pc:sldMkLst>
          <pc:docMk/>
          <pc:sldMk cId="3504949633" sldId="258"/>
        </pc:sldMkLst>
      </pc:sldChg>
      <pc:sldChg chg="addSp delSp modSp new mod">
        <pc:chgData name="Douglas Daniel Reinoso Peña" userId="60d62e81-f7d7-4b4c-92cc-63fb6a945bb4" providerId="ADAL" clId="{B815062A-1CE0-47B2-B6FA-D2837D2FEAA4}" dt="2024-11-18T21:08:05.366" v="372" actId="20577"/>
        <pc:sldMkLst>
          <pc:docMk/>
          <pc:sldMk cId="3650972313" sldId="258"/>
        </pc:sldMkLst>
        <pc:spChg chg="mod">
          <ac:chgData name="Douglas Daniel Reinoso Peña" userId="60d62e81-f7d7-4b4c-92cc-63fb6a945bb4" providerId="ADAL" clId="{B815062A-1CE0-47B2-B6FA-D2837D2FEAA4}" dt="2024-11-18T21:04:13.499" v="152" actId="948"/>
          <ac:spMkLst>
            <pc:docMk/>
            <pc:sldMk cId="3650972313" sldId="258"/>
            <ac:spMk id="2" creationId="{C350840F-D704-EBEA-C8BA-295C328AC5A4}"/>
          </ac:spMkLst>
        </pc:spChg>
        <pc:spChg chg="mod">
          <ac:chgData name="Douglas Daniel Reinoso Peña" userId="60d62e81-f7d7-4b4c-92cc-63fb6a945bb4" providerId="ADAL" clId="{B815062A-1CE0-47B2-B6FA-D2837D2FEAA4}" dt="2024-11-18T21:08:05.366" v="372" actId="20577"/>
          <ac:spMkLst>
            <pc:docMk/>
            <pc:sldMk cId="3650972313" sldId="258"/>
            <ac:spMk id="3" creationId="{421939C0-4929-FB91-322A-DD802E5EEB12}"/>
          </ac:spMkLst>
        </pc:spChg>
        <pc:spChg chg="mod">
          <ac:chgData name="Douglas Daniel Reinoso Peña" userId="60d62e81-f7d7-4b4c-92cc-63fb6a945bb4" providerId="ADAL" clId="{B815062A-1CE0-47B2-B6FA-D2837D2FEAA4}" dt="2024-11-18T21:07:23.418" v="339" actId="313"/>
          <ac:spMkLst>
            <pc:docMk/>
            <pc:sldMk cId="3650972313" sldId="258"/>
            <ac:spMk id="4" creationId="{CBB77B84-15D8-10C8-DC6E-EC84CB1CABE6}"/>
          </ac:spMkLst>
        </pc:spChg>
        <pc:spChg chg="add del mod modVis">
          <ac:chgData name="Douglas Daniel Reinoso Peña" userId="60d62e81-f7d7-4b4c-92cc-63fb6a945bb4" providerId="ADAL" clId="{B815062A-1CE0-47B2-B6FA-D2837D2FEAA4}" dt="2024-11-18T21:04:12.085" v="136"/>
          <ac:spMkLst>
            <pc:docMk/>
            <pc:sldMk cId="3650972313" sldId="258"/>
            <ac:spMk id="5" creationId="{5CD03D14-77A4-49AA-A5F8-32B92A11A462}"/>
          </ac:spMkLst>
        </pc:spChg>
        <pc:spChg chg="add del mod modVis">
          <ac:chgData name="Douglas Daniel Reinoso Peña" userId="60d62e81-f7d7-4b4c-92cc-63fb6a945bb4" providerId="ADAL" clId="{B815062A-1CE0-47B2-B6FA-D2837D2FEAA4}" dt="2024-11-18T21:04:13.525" v="173"/>
          <ac:spMkLst>
            <pc:docMk/>
            <pc:sldMk cId="3650972313" sldId="258"/>
            <ac:spMk id="7" creationId="{D4774938-949B-26CF-27D8-4F3A1C9191F1}"/>
          </ac:spMkLst>
        </pc:spChg>
        <pc:graphicFrameChg chg="add mod ord modVis">
          <ac:chgData name="Douglas Daniel Reinoso Peña" userId="60d62e81-f7d7-4b4c-92cc-63fb6a945bb4" providerId="ADAL" clId="{B815062A-1CE0-47B2-B6FA-D2837D2FEAA4}" dt="2024-11-18T21:04:13.526" v="175"/>
          <ac:graphicFrameMkLst>
            <pc:docMk/>
            <pc:sldMk cId="3650972313" sldId="258"/>
            <ac:graphicFrameMk id="6" creationId="{A878ADE7-7DFE-266B-262C-7C0810CBF935}"/>
          </ac:graphicFrameMkLst>
        </pc:graphicFrameChg>
      </pc:sldChg>
      <pc:sldChg chg="new del">
        <pc:chgData name="Douglas Daniel Reinoso Peña" userId="60d62e81-f7d7-4b4c-92cc-63fb6a945bb4" providerId="ADAL" clId="{B815062A-1CE0-47B2-B6FA-D2837D2FEAA4}" dt="2024-11-18T20:49:46.804" v="3" actId="47"/>
        <pc:sldMkLst>
          <pc:docMk/>
          <pc:sldMk cId="2290149111" sldId="259"/>
        </pc:sldMkLst>
      </pc:sldChg>
      <pc:sldChg chg="new del">
        <pc:chgData name="Douglas Daniel Reinoso Peña" userId="60d62e81-f7d7-4b4c-92cc-63fb6a945bb4" providerId="ADAL" clId="{B815062A-1CE0-47B2-B6FA-D2837D2FEAA4}" dt="2024-11-19T14:36:08.448" v="4503" actId="47"/>
        <pc:sldMkLst>
          <pc:docMk/>
          <pc:sldMk cId="2375682472" sldId="259"/>
        </pc:sldMkLst>
      </pc:sldChg>
      <pc:sldChg chg="new del">
        <pc:chgData name="Douglas Daniel Reinoso Peña" userId="60d62e81-f7d7-4b4c-92cc-63fb6a945bb4" providerId="ADAL" clId="{B815062A-1CE0-47B2-B6FA-D2837D2FEAA4}" dt="2024-11-19T14:36:12.116" v="4505" actId="47"/>
        <pc:sldMkLst>
          <pc:docMk/>
          <pc:sldMk cId="2691017371" sldId="260"/>
        </pc:sldMkLst>
      </pc:sldChg>
      <pc:sldChg chg="addSp delSp modSp mod ord modClrScheme chgLayout">
        <pc:chgData name="Douglas Daniel Reinoso Peña" userId="60d62e81-f7d7-4b4c-92cc-63fb6a945bb4" providerId="ADAL" clId="{B815062A-1CE0-47B2-B6FA-D2837D2FEAA4}" dt="2024-11-18T21:11:50.278" v="982"/>
        <pc:sldMkLst>
          <pc:docMk/>
          <pc:sldMk cId="2664934803" sldId="2147375275"/>
        </pc:sldMkLst>
        <pc:spChg chg="add del mod ord">
          <ac:chgData name="Douglas Daniel Reinoso Peña" userId="60d62e81-f7d7-4b4c-92cc-63fb6a945bb4" providerId="ADAL" clId="{B815062A-1CE0-47B2-B6FA-D2837D2FEAA4}" dt="2024-11-18T21:00:53.836" v="106" actId="700"/>
          <ac:spMkLst>
            <pc:docMk/>
            <pc:sldMk cId="2664934803" sldId="2147375275"/>
            <ac:spMk id="2" creationId="{C2B98C72-DCAE-366D-D4B5-F8D79AB2B1C2}"/>
          </ac:spMkLst>
        </pc:spChg>
        <pc:spChg chg="add del mod ord">
          <ac:chgData name="Douglas Daniel Reinoso Peña" userId="60d62e81-f7d7-4b4c-92cc-63fb6a945bb4" providerId="ADAL" clId="{B815062A-1CE0-47B2-B6FA-D2837D2FEAA4}" dt="2024-11-18T21:09:01.377" v="378" actId="700"/>
          <ac:spMkLst>
            <pc:docMk/>
            <pc:sldMk cId="2664934803" sldId="2147375275"/>
            <ac:spMk id="3" creationId="{FFE7AFEC-9BE1-81C3-6FFF-6F1A41D8E3C3}"/>
          </ac:spMkLst>
        </pc:spChg>
        <pc:spChg chg="add del mod ord">
          <ac:chgData name="Douglas Daniel Reinoso Peña" userId="60d62e81-f7d7-4b4c-92cc-63fb6a945bb4" providerId="ADAL" clId="{B815062A-1CE0-47B2-B6FA-D2837D2FEAA4}" dt="2024-11-18T21:09:01.377" v="378" actId="700"/>
          <ac:spMkLst>
            <pc:docMk/>
            <pc:sldMk cId="2664934803" sldId="2147375275"/>
            <ac:spMk id="5" creationId="{0634CF48-22AC-364F-46D2-6BA82F359811}"/>
          </ac:spMkLst>
        </pc:spChg>
        <pc:spChg chg="add del mod ord">
          <ac:chgData name="Douglas Daniel Reinoso Peña" userId="60d62e81-f7d7-4b4c-92cc-63fb6a945bb4" providerId="ADAL" clId="{B815062A-1CE0-47B2-B6FA-D2837D2FEAA4}" dt="2024-11-18T21:09:01.377" v="378" actId="700"/>
          <ac:spMkLst>
            <pc:docMk/>
            <pc:sldMk cId="2664934803" sldId="2147375275"/>
            <ac:spMk id="6" creationId="{7E0876D7-48B3-9BD7-5A0F-449ECA78DA60}"/>
          </ac:spMkLst>
        </pc:spChg>
        <pc:spChg chg="del">
          <ac:chgData name="Douglas Daniel Reinoso Peña" userId="60d62e81-f7d7-4b4c-92cc-63fb6a945bb4" providerId="ADAL" clId="{B815062A-1CE0-47B2-B6FA-D2837D2FEAA4}" dt="2024-11-18T21:08:29.411" v="376" actId="478"/>
          <ac:spMkLst>
            <pc:docMk/>
            <pc:sldMk cId="2664934803" sldId="2147375275"/>
            <ac:spMk id="7" creationId="{DE06B1BB-9D61-7E7A-44B4-AEA4422C342E}"/>
          </ac:spMkLst>
        </pc:spChg>
        <pc:spChg chg="del mod">
          <ac:chgData name="Douglas Daniel Reinoso Peña" userId="60d62e81-f7d7-4b4c-92cc-63fb6a945bb4" providerId="ADAL" clId="{B815062A-1CE0-47B2-B6FA-D2837D2FEAA4}" dt="2024-11-18T21:09:58.178" v="426" actId="478"/>
          <ac:spMkLst>
            <pc:docMk/>
            <pc:sldMk cId="2664934803" sldId="2147375275"/>
            <ac:spMk id="8" creationId="{C1977E8B-00C2-B14B-5226-68CA623FAFF1}"/>
          </ac:spMkLst>
        </pc:spChg>
        <pc:spChg chg="add del mod ord">
          <ac:chgData name="Douglas Daniel Reinoso Peña" userId="60d62e81-f7d7-4b4c-92cc-63fb6a945bb4" providerId="ADAL" clId="{B815062A-1CE0-47B2-B6FA-D2837D2FEAA4}" dt="2024-11-18T21:11:50.260" v="959" actId="948"/>
          <ac:spMkLst>
            <pc:docMk/>
            <pc:sldMk cId="2664934803" sldId="2147375275"/>
            <ac:spMk id="9" creationId="{85F7B966-01A0-7194-982C-F6002C32E4A1}"/>
          </ac:spMkLst>
        </pc:spChg>
        <pc:spChg chg="add del mod ord">
          <ac:chgData name="Douglas Daniel Reinoso Peña" userId="60d62e81-f7d7-4b4c-92cc-63fb6a945bb4" providerId="ADAL" clId="{B815062A-1CE0-47B2-B6FA-D2837D2FEAA4}" dt="2024-11-18T21:10:02.356" v="427" actId="478"/>
          <ac:spMkLst>
            <pc:docMk/>
            <pc:sldMk cId="2664934803" sldId="2147375275"/>
            <ac:spMk id="10" creationId="{51DFF43C-CBF6-1742-6D49-F1622F5CB634}"/>
          </ac:spMkLst>
        </pc:spChg>
        <pc:spChg chg="add del mod ord">
          <ac:chgData name="Douglas Daniel Reinoso Peña" userId="60d62e81-f7d7-4b4c-92cc-63fb6a945bb4" providerId="ADAL" clId="{B815062A-1CE0-47B2-B6FA-D2837D2FEAA4}" dt="2024-11-18T21:09:56.288" v="425" actId="478"/>
          <ac:spMkLst>
            <pc:docMk/>
            <pc:sldMk cId="2664934803" sldId="2147375275"/>
            <ac:spMk id="11" creationId="{E9185372-4250-F026-00A8-842889FE71E4}"/>
          </ac:spMkLst>
        </pc:spChg>
        <pc:spChg chg="add del mod modVis">
          <ac:chgData name="Douglas Daniel Reinoso Peña" userId="60d62e81-f7d7-4b4c-92cc-63fb6a945bb4" providerId="ADAL" clId="{B815062A-1CE0-47B2-B6FA-D2837D2FEAA4}" dt="2024-11-18T21:09:54.172" v="422"/>
          <ac:spMkLst>
            <pc:docMk/>
            <pc:sldMk cId="2664934803" sldId="2147375275"/>
            <ac:spMk id="12" creationId="{D47AFEA4-3ACE-0E9F-95B5-9F0E3EC8415F}"/>
          </ac:spMkLst>
        </pc:spChg>
        <pc:spChg chg="add del mod modVis">
          <ac:chgData name="Douglas Daniel Reinoso Peña" userId="60d62e81-f7d7-4b4c-92cc-63fb6a945bb4" providerId="ADAL" clId="{B815062A-1CE0-47B2-B6FA-D2837D2FEAA4}" dt="2024-11-18T21:10:07.165" v="451"/>
          <ac:spMkLst>
            <pc:docMk/>
            <pc:sldMk cId="2664934803" sldId="2147375275"/>
            <ac:spMk id="13" creationId="{40809CEA-D91D-9514-23AE-0CC514E30704}"/>
          </ac:spMkLst>
        </pc:spChg>
        <pc:spChg chg="add del mod modVis">
          <ac:chgData name="Douglas Daniel Reinoso Peña" userId="60d62e81-f7d7-4b4c-92cc-63fb6a945bb4" providerId="ADAL" clId="{B815062A-1CE0-47B2-B6FA-D2837D2FEAA4}" dt="2024-11-18T21:10:13.771" v="476"/>
          <ac:spMkLst>
            <pc:docMk/>
            <pc:sldMk cId="2664934803" sldId="2147375275"/>
            <ac:spMk id="14" creationId="{EFD968CA-2429-9ECD-B955-73DDF20A79E5}"/>
          </ac:spMkLst>
        </pc:spChg>
        <pc:spChg chg="add del mod modVis">
          <ac:chgData name="Douglas Daniel Reinoso Peña" userId="60d62e81-f7d7-4b4c-92cc-63fb6a945bb4" providerId="ADAL" clId="{B815062A-1CE0-47B2-B6FA-D2837D2FEAA4}" dt="2024-11-18T21:10:22.966" v="501"/>
          <ac:spMkLst>
            <pc:docMk/>
            <pc:sldMk cId="2664934803" sldId="2147375275"/>
            <ac:spMk id="15" creationId="{78BB8CA0-8E85-FD6E-E680-73079457F15B}"/>
          </ac:spMkLst>
        </pc:spChg>
        <pc:spChg chg="add del mod modVis">
          <ac:chgData name="Douglas Daniel Reinoso Peña" userId="60d62e81-f7d7-4b4c-92cc-63fb6a945bb4" providerId="ADAL" clId="{B815062A-1CE0-47B2-B6FA-D2837D2FEAA4}" dt="2024-11-18T21:10:24.003" v="526"/>
          <ac:spMkLst>
            <pc:docMk/>
            <pc:sldMk cId="2664934803" sldId="2147375275"/>
            <ac:spMk id="16" creationId="{FFD3659D-593F-7C74-818D-7B04EA93EDF3}"/>
          </ac:spMkLst>
        </pc:spChg>
        <pc:spChg chg="add del mod modVis">
          <ac:chgData name="Douglas Daniel Reinoso Peña" userId="60d62e81-f7d7-4b4c-92cc-63fb6a945bb4" providerId="ADAL" clId="{B815062A-1CE0-47B2-B6FA-D2837D2FEAA4}" dt="2024-11-18T21:10:25.598" v="552"/>
          <ac:spMkLst>
            <pc:docMk/>
            <pc:sldMk cId="2664934803" sldId="2147375275"/>
            <ac:spMk id="17" creationId="{6BDA2076-5D9B-021B-A72C-BDF0BC48EC93}"/>
          </ac:spMkLst>
        </pc:spChg>
        <pc:spChg chg="add del mod modVis">
          <ac:chgData name="Douglas Daniel Reinoso Peña" userId="60d62e81-f7d7-4b4c-92cc-63fb6a945bb4" providerId="ADAL" clId="{B815062A-1CE0-47B2-B6FA-D2837D2FEAA4}" dt="2024-11-18T21:10:43.992" v="577"/>
          <ac:spMkLst>
            <pc:docMk/>
            <pc:sldMk cId="2664934803" sldId="2147375275"/>
            <ac:spMk id="18" creationId="{42CFF5E2-BE02-7DBD-B067-C59E58D10E5D}"/>
          </ac:spMkLst>
        </pc:spChg>
        <pc:spChg chg="add del mod modVis">
          <ac:chgData name="Douglas Daniel Reinoso Peña" userId="60d62e81-f7d7-4b4c-92cc-63fb6a945bb4" providerId="ADAL" clId="{B815062A-1CE0-47B2-B6FA-D2837D2FEAA4}" dt="2024-11-18T21:10:49.617" v="602"/>
          <ac:spMkLst>
            <pc:docMk/>
            <pc:sldMk cId="2664934803" sldId="2147375275"/>
            <ac:spMk id="19" creationId="{3C05E111-0DC7-6BD5-C350-2F5BF4B0F8C3}"/>
          </ac:spMkLst>
        </pc:spChg>
        <pc:spChg chg="add del mod modVis">
          <ac:chgData name="Douglas Daniel Reinoso Peña" userId="60d62e81-f7d7-4b4c-92cc-63fb6a945bb4" providerId="ADAL" clId="{B815062A-1CE0-47B2-B6FA-D2837D2FEAA4}" dt="2024-11-18T21:10:54.670" v="627"/>
          <ac:spMkLst>
            <pc:docMk/>
            <pc:sldMk cId="2664934803" sldId="2147375275"/>
            <ac:spMk id="20" creationId="{D1A39683-1C04-1BF5-A14D-3AA7D2A4645F}"/>
          </ac:spMkLst>
        </pc:spChg>
        <pc:spChg chg="add del mod modVis">
          <ac:chgData name="Douglas Daniel Reinoso Peña" userId="60d62e81-f7d7-4b4c-92cc-63fb6a945bb4" providerId="ADAL" clId="{B815062A-1CE0-47B2-B6FA-D2837D2FEAA4}" dt="2024-11-18T21:10:58.348" v="652"/>
          <ac:spMkLst>
            <pc:docMk/>
            <pc:sldMk cId="2664934803" sldId="2147375275"/>
            <ac:spMk id="21" creationId="{8BF251DA-BEB1-DF41-AFB9-DF88A062ADFE}"/>
          </ac:spMkLst>
        </pc:spChg>
        <pc:spChg chg="add del mod modVis">
          <ac:chgData name="Douglas Daniel Reinoso Peña" userId="60d62e81-f7d7-4b4c-92cc-63fb6a945bb4" providerId="ADAL" clId="{B815062A-1CE0-47B2-B6FA-D2837D2FEAA4}" dt="2024-11-18T21:11:11.985" v="677"/>
          <ac:spMkLst>
            <pc:docMk/>
            <pc:sldMk cId="2664934803" sldId="2147375275"/>
            <ac:spMk id="22" creationId="{45249E44-816D-62D2-08EA-04066996DA0A}"/>
          </ac:spMkLst>
        </pc:spChg>
        <pc:spChg chg="add del mod modVis">
          <ac:chgData name="Douglas Daniel Reinoso Peña" userId="60d62e81-f7d7-4b4c-92cc-63fb6a945bb4" providerId="ADAL" clId="{B815062A-1CE0-47B2-B6FA-D2837D2FEAA4}" dt="2024-11-18T21:11:13.393" v="702"/>
          <ac:spMkLst>
            <pc:docMk/>
            <pc:sldMk cId="2664934803" sldId="2147375275"/>
            <ac:spMk id="23" creationId="{20CAEA19-AA06-8A7B-ED24-4A607C4E32BB}"/>
          </ac:spMkLst>
        </pc:spChg>
        <pc:spChg chg="add del mod modVis">
          <ac:chgData name="Douglas Daniel Reinoso Peña" userId="60d62e81-f7d7-4b4c-92cc-63fb6a945bb4" providerId="ADAL" clId="{B815062A-1CE0-47B2-B6FA-D2837D2FEAA4}" dt="2024-11-18T21:11:15.675" v="727"/>
          <ac:spMkLst>
            <pc:docMk/>
            <pc:sldMk cId="2664934803" sldId="2147375275"/>
            <ac:spMk id="24" creationId="{62B608FC-768D-7856-5E52-9E7764FAC28F}"/>
          </ac:spMkLst>
        </pc:spChg>
        <pc:spChg chg="add del mod modVis">
          <ac:chgData name="Douglas Daniel Reinoso Peña" userId="60d62e81-f7d7-4b4c-92cc-63fb6a945bb4" providerId="ADAL" clId="{B815062A-1CE0-47B2-B6FA-D2837D2FEAA4}" dt="2024-11-18T21:11:16.553" v="752"/>
          <ac:spMkLst>
            <pc:docMk/>
            <pc:sldMk cId="2664934803" sldId="2147375275"/>
            <ac:spMk id="25" creationId="{35D6FA7D-27AA-06C9-7FBE-893AEF91D760}"/>
          </ac:spMkLst>
        </pc:spChg>
        <pc:spChg chg="add del mod modVis">
          <ac:chgData name="Douglas Daniel Reinoso Peña" userId="60d62e81-f7d7-4b4c-92cc-63fb6a945bb4" providerId="ADAL" clId="{B815062A-1CE0-47B2-B6FA-D2837D2FEAA4}" dt="2024-11-18T21:11:17.213" v="777"/>
          <ac:spMkLst>
            <pc:docMk/>
            <pc:sldMk cId="2664934803" sldId="2147375275"/>
            <ac:spMk id="26" creationId="{CBCFE0A8-9117-A678-02AC-26AE0F9CCF48}"/>
          </ac:spMkLst>
        </pc:spChg>
        <pc:spChg chg="add del mod modVis">
          <ac:chgData name="Douglas Daniel Reinoso Peña" userId="60d62e81-f7d7-4b4c-92cc-63fb6a945bb4" providerId="ADAL" clId="{B815062A-1CE0-47B2-B6FA-D2837D2FEAA4}" dt="2024-11-18T21:11:18.127" v="802"/>
          <ac:spMkLst>
            <pc:docMk/>
            <pc:sldMk cId="2664934803" sldId="2147375275"/>
            <ac:spMk id="27" creationId="{7E7B375E-4E8F-56B5-E3F5-D6AFE4203EF1}"/>
          </ac:spMkLst>
        </pc:spChg>
        <pc:spChg chg="add del mod modVis">
          <ac:chgData name="Douglas Daniel Reinoso Peña" userId="60d62e81-f7d7-4b4c-92cc-63fb6a945bb4" providerId="ADAL" clId="{B815062A-1CE0-47B2-B6FA-D2837D2FEAA4}" dt="2024-11-18T21:11:22.532" v="827"/>
          <ac:spMkLst>
            <pc:docMk/>
            <pc:sldMk cId="2664934803" sldId="2147375275"/>
            <ac:spMk id="28" creationId="{AB0FD94D-15DF-CCFE-1005-BF79B08F99E5}"/>
          </ac:spMkLst>
        </pc:spChg>
        <pc:spChg chg="add del mod modVis">
          <ac:chgData name="Douglas Daniel Reinoso Peña" userId="60d62e81-f7d7-4b4c-92cc-63fb6a945bb4" providerId="ADAL" clId="{B815062A-1CE0-47B2-B6FA-D2837D2FEAA4}" dt="2024-11-18T21:11:25.946" v="852"/>
          <ac:spMkLst>
            <pc:docMk/>
            <pc:sldMk cId="2664934803" sldId="2147375275"/>
            <ac:spMk id="29" creationId="{34483CC5-715D-9638-C73A-CF3CF840C5A4}"/>
          </ac:spMkLst>
        </pc:spChg>
        <pc:spChg chg="add del mod modVis">
          <ac:chgData name="Douglas Daniel Reinoso Peña" userId="60d62e81-f7d7-4b4c-92cc-63fb6a945bb4" providerId="ADAL" clId="{B815062A-1CE0-47B2-B6FA-D2837D2FEAA4}" dt="2024-11-18T21:11:30.537" v="877"/>
          <ac:spMkLst>
            <pc:docMk/>
            <pc:sldMk cId="2664934803" sldId="2147375275"/>
            <ac:spMk id="30" creationId="{478820C1-7F84-996F-638E-71631EC35A03}"/>
          </ac:spMkLst>
        </pc:spChg>
        <pc:spChg chg="add del mod modVis">
          <ac:chgData name="Douglas Daniel Reinoso Peña" userId="60d62e81-f7d7-4b4c-92cc-63fb6a945bb4" providerId="ADAL" clId="{B815062A-1CE0-47B2-B6FA-D2837D2FEAA4}" dt="2024-11-18T21:11:32.747" v="904"/>
          <ac:spMkLst>
            <pc:docMk/>
            <pc:sldMk cId="2664934803" sldId="2147375275"/>
            <ac:spMk id="31" creationId="{6B4C4E9A-14F5-A064-3D3B-3C1FEC133394}"/>
          </ac:spMkLst>
        </pc:spChg>
        <pc:spChg chg="add del mod modVis">
          <ac:chgData name="Douglas Daniel Reinoso Peña" userId="60d62e81-f7d7-4b4c-92cc-63fb6a945bb4" providerId="ADAL" clId="{B815062A-1CE0-47B2-B6FA-D2837D2FEAA4}" dt="2024-11-18T21:11:42.837" v="930"/>
          <ac:spMkLst>
            <pc:docMk/>
            <pc:sldMk cId="2664934803" sldId="2147375275"/>
            <ac:spMk id="32" creationId="{0E71F16C-A001-F6CD-DC8F-7C3F7436DCA0}"/>
          </ac:spMkLst>
        </pc:spChg>
        <pc:spChg chg="add del mod modVis">
          <ac:chgData name="Douglas Daniel Reinoso Peña" userId="60d62e81-f7d7-4b4c-92cc-63fb6a945bb4" providerId="ADAL" clId="{B815062A-1CE0-47B2-B6FA-D2837D2FEAA4}" dt="2024-11-18T21:11:46.355" v="955"/>
          <ac:spMkLst>
            <pc:docMk/>
            <pc:sldMk cId="2664934803" sldId="2147375275"/>
            <ac:spMk id="33" creationId="{2BB5D78E-1827-47B8-F8E1-C2CC342ED9F0}"/>
          </ac:spMkLst>
        </pc:spChg>
        <pc:spChg chg="add del mod modVis">
          <ac:chgData name="Douglas Daniel Reinoso Peña" userId="60d62e81-f7d7-4b4c-92cc-63fb6a945bb4" providerId="ADAL" clId="{B815062A-1CE0-47B2-B6FA-D2837D2FEAA4}" dt="2024-11-18T21:11:50.277" v="980"/>
          <ac:spMkLst>
            <pc:docMk/>
            <pc:sldMk cId="2664934803" sldId="2147375275"/>
            <ac:spMk id="34" creationId="{D859B1EB-2581-73AA-EC9C-EFB8A6B27181}"/>
          </ac:spMkLst>
        </pc:spChg>
        <pc:graphicFrameChg chg="mod">
          <ac:chgData name="Douglas Daniel Reinoso Peña" userId="60d62e81-f7d7-4b4c-92cc-63fb6a945bb4" providerId="ADAL" clId="{B815062A-1CE0-47B2-B6FA-D2837D2FEAA4}" dt="2024-11-18T21:11:50.278" v="982"/>
          <ac:graphicFrameMkLst>
            <pc:docMk/>
            <pc:sldMk cId="2664934803" sldId="2147375275"/>
            <ac:graphicFrameMk id="4" creationId="{192E0E21-D755-6DB9-DBFC-F847D8C85EBA}"/>
          </ac:graphicFrameMkLst>
        </pc:graphicFrameChg>
      </pc:sldChg>
      <pc:sldChg chg="modSp add del mod">
        <pc:chgData name="Douglas Daniel Reinoso Peña" userId="60d62e81-f7d7-4b4c-92cc-63fb6a945bb4" providerId="ADAL" clId="{B815062A-1CE0-47B2-B6FA-D2837D2FEAA4}" dt="2024-11-19T13:14:26.890" v="2791" actId="47"/>
        <pc:sldMkLst>
          <pc:docMk/>
          <pc:sldMk cId="634448948" sldId="2147375277"/>
        </pc:sldMkLst>
        <pc:graphicFrameChg chg="mod">
          <ac:chgData name="Douglas Daniel Reinoso Peña" userId="60d62e81-f7d7-4b4c-92cc-63fb6a945bb4" providerId="ADAL" clId="{B815062A-1CE0-47B2-B6FA-D2837D2FEAA4}" dt="2024-11-19T13:01:08.349" v="2418" actId="1076"/>
          <ac:graphicFrameMkLst>
            <pc:docMk/>
            <pc:sldMk cId="634448948" sldId="2147375277"/>
            <ac:graphicFrameMk id="4" creationId="{192E0E21-D755-6DB9-DBFC-F847D8C85EBA}"/>
          </ac:graphicFrameMkLst>
        </pc:graphicFrameChg>
      </pc:sldChg>
      <pc:sldChg chg="addSp delSp modSp del mod modClrScheme chgLayout">
        <pc:chgData name="Douglas Daniel Reinoso Peña" userId="60d62e81-f7d7-4b4c-92cc-63fb6a945bb4" providerId="ADAL" clId="{B815062A-1CE0-47B2-B6FA-D2837D2FEAA4}" dt="2024-11-20T14:42:36.855" v="6957" actId="47"/>
        <pc:sldMkLst>
          <pc:docMk/>
          <pc:sldMk cId="3526217965" sldId="2147375324"/>
        </pc:sldMkLst>
        <pc:spChg chg="add del mod ord">
          <ac:chgData name="Douglas Daniel Reinoso Peña" userId="60d62e81-f7d7-4b4c-92cc-63fb6a945bb4" providerId="ADAL" clId="{B815062A-1CE0-47B2-B6FA-D2837D2FEAA4}" dt="2024-11-18T21:01:00.130" v="110" actId="700"/>
          <ac:spMkLst>
            <pc:docMk/>
            <pc:sldMk cId="3526217965" sldId="2147375324"/>
            <ac:spMk id="3" creationId="{38C1711E-02A9-8143-D5CE-03522CAAD7B7}"/>
          </ac:spMkLst>
        </pc:spChg>
        <pc:spChg chg="add mod ord">
          <ac:chgData name="Douglas Daniel Reinoso Peña" userId="60d62e81-f7d7-4b4c-92cc-63fb6a945bb4" providerId="ADAL" clId="{B815062A-1CE0-47B2-B6FA-D2837D2FEAA4}" dt="2024-11-18T21:13:25.847" v="1068" actId="948"/>
          <ac:spMkLst>
            <pc:docMk/>
            <pc:sldMk cId="3526217965" sldId="2147375324"/>
            <ac:spMk id="4" creationId="{2934DD3A-BA94-159F-389A-5001E30B4009}"/>
          </ac:spMkLst>
        </pc:spChg>
        <pc:spChg chg="add del mod modVis">
          <ac:chgData name="Douglas Daniel Reinoso Peña" userId="60d62e81-f7d7-4b4c-92cc-63fb6a945bb4" providerId="ADAL" clId="{B815062A-1CE0-47B2-B6FA-D2837D2FEAA4}" dt="2024-11-18T21:13:03.356" v="1013"/>
          <ac:spMkLst>
            <pc:docMk/>
            <pc:sldMk cId="3526217965" sldId="2147375324"/>
            <ac:spMk id="5" creationId="{E3E69CF8-B374-8AF4-EA7F-68254BD02950}"/>
          </ac:spMkLst>
        </pc:spChg>
        <pc:spChg chg="add del mod modVis">
          <ac:chgData name="Douglas Daniel Reinoso Peña" userId="60d62e81-f7d7-4b4c-92cc-63fb6a945bb4" providerId="ADAL" clId="{B815062A-1CE0-47B2-B6FA-D2837D2FEAA4}" dt="2024-11-18T21:13:04.705" v="1038"/>
          <ac:spMkLst>
            <pc:docMk/>
            <pc:sldMk cId="3526217965" sldId="2147375324"/>
            <ac:spMk id="6" creationId="{FAA54115-5139-8230-AF63-1EFD9FCAD022}"/>
          </ac:spMkLst>
        </pc:spChg>
        <pc:spChg chg="add del mod modVis">
          <ac:chgData name="Douglas Daniel Reinoso Peña" userId="60d62e81-f7d7-4b4c-92cc-63fb6a945bb4" providerId="ADAL" clId="{B815062A-1CE0-47B2-B6FA-D2837D2FEAA4}" dt="2024-11-18T21:13:11.064" v="1064"/>
          <ac:spMkLst>
            <pc:docMk/>
            <pc:sldMk cId="3526217965" sldId="2147375324"/>
            <ac:spMk id="7" creationId="{63A35BB1-9BC9-1C11-03EA-E8FD627D485F}"/>
          </ac:spMkLst>
        </pc:spChg>
        <pc:spChg chg="add del mod modVis">
          <ac:chgData name="Douglas Daniel Reinoso Peña" userId="60d62e81-f7d7-4b4c-92cc-63fb6a945bb4" providerId="ADAL" clId="{B815062A-1CE0-47B2-B6FA-D2837D2FEAA4}" dt="2024-11-18T21:13:25.878" v="1089"/>
          <ac:spMkLst>
            <pc:docMk/>
            <pc:sldMk cId="3526217965" sldId="2147375324"/>
            <ac:spMk id="8" creationId="{A3FC56FB-5E84-F558-78D1-E0D7134E5FBB}"/>
          </ac:spMkLst>
        </pc:spChg>
        <pc:spChg chg="del mod">
          <ac:chgData name="Douglas Daniel Reinoso Peña" userId="60d62e81-f7d7-4b4c-92cc-63fb6a945bb4" providerId="ADAL" clId="{B815062A-1CE0-47B2-B6FA-D2837D2FEAA4}" dt="2024-11-18T21:12:48.822" v="989" actId="478"/>
          <ac:spMkLst>
            <pc:docMk/>
            <pc:sldMk cId="3526217965" sldId="2147375324"/>
            <ac:spMk id="33" creationId="{B5296072-E158-A39D-376E-A6DD82ADECDA}"/>
          </ac:spMkLst>
        </pc:spChg>
        <pc:spChg chg="del">
          <ac:chgData name="Douglas Daniel Reinoso Peña" userId="60d62e81-f7d7-4b4c-92cc-63fb6a945bb4" providerId="ADAL" clId="{B815062A-1CE0-47B2-B6FA-D2837D2FEAA4}" dt="2024-11-18T21:13:07.506" v="1041" actId="478"/>
          <ac:spMkLst>
            <pc:docMk/>
            <pc:sldMk cId="3526217965" sldId="2147375324"/>
            <ac:spMk id="43" creationId="{51266E22-0403-6C5B-DF12-C0BC871BE023}"/>
          </ac:spMkLst>
        </pc:spChg>
        <pc:graphicFrameChg chg="mod">
          <ac:chgData name="Douglas Daniel Reinoso Peña" userId="60d62e81-f7d7-4b4c-92cc-63fb6a945bb4" providerId="ADAL" clId="{B815062A-1CE0-47B2-B6FA-D2837D2FEAA4}" dt="2024-11-18T21:13:25.878" v="1091"/>
          <ac:graphicFrameMkLst>
            <pc:docMk/>
            <pc:sldMk cId="3526217965" sldId="2147375324"/>
            <ac:graphicFrameMk id="15" creationId="{15712D71-6F58-A7BD-E9AE-910A5D068179}"/>
          </ac:graphicFrameMkLst>
        </pc:graphicFrameChg>
      </pc:sldChg>
      <pc:sldChg chg="addSp delSp modSp del mod ord modClrScheme modShow chgLayout">
        <pc:chgData name="Douglas Daniel Reinoso Peña" userId="60d62e81-f7d7-4b4c-92cc-63fb6a945bb4" providerId="ADAL" clId="{B815062A-1CE0-47B2-B6FA-D2837D2FEAA4}" dt="2024-11-20T13:07:40.687" v="6715" actId="47"/>
        <pc:sldMkLst>
          <pc:docMk/>
          <pc:sldMk cId="1675290173" sldId="2147375411"/>
        </pc:sldMkLst>
        <pc:spChg chg="add mod ord">
          <ac:chgData name="Douglas Daniel Reinoso Peña" userId="60d62e81-f7d7-4b4c-92cc-63fb6a945bb4" providerId="ADAL" clId="{B815062A-1CE0-47B2-B6FA-D2837D2FEAA4}" dt="2024-11-19T14:16:16.222" v="4335" actId="948"/>
          <ac:spMkLst>
            <pc:docMk/>
            <pc:sldMk cId="1675290173" sldId="2147375411"/>
            <ac:spMk id="2" creationId="{42FDB10E-5EC4-F183-7738-58AFB18A0131}"/>
          </ac:spMkLst>
        </pc:spChg>
        <pc:spChg chg="add del mod modVis">
          <ac:chgData name="Douglas Daniel Reinoso Peña" userId="60d62e81-f7d7-4b4c-92cc-63fb6a945bb4" providerId="ADAL" clId="{B815062A-1CE0-47B2-B6FA-D2837D2FEAA4}" dt="2024-11-19T12:56:06.812" v="2037"/>
          <ac:spMkLst>
            <pc:docMk/>
            <pc:sldMk cId="1675290173" sldId="2147375411"/>
            <ac:spMk id="3" creationId="{08901E70-FC4B-7849-B453-5081421D637E}"/>
          </ac:spMkLst>
        </pc:spChg>
        <pc:spChg chg="add del mod modVis">
          <ac:chgData name="Douglas Daniel Reinoso Peña" userId="60d62e81-f7d7-4b4c-92cc-63fb6a945bb4" providerId="ADAL" clId="{B815062A-1CE0-47B2-B6FA-D2837D2FEAA4}" dt="2024-11-19T12:56:11.248" v="2071"/>
          <ac:spMkLst>
            <pc:docMk/>
            <pc:sldMk cId="1675290173" sldId="2147375411"/>
            <ac:spMk id="4" creationId="{9A0DA7F2-01A9-A099-A305-962C76155BF1}"/>
          </ac:spMkLst>
        </pc:spChg>
        <pc:spChg chg="del">
          <ac:chgData name="Douglas Daniel Reinoso Peña" userId="60d62e81-f7d7-4b4c-92cc-63fb6a945bb4" providerId="ADAL" clId="{B815062A-1CE0-47B2-B6FA-D2837D2FEAA4}" dt="2024-11-19T12:56:21.674" v="2180" actId="478"/>
          <ac:spMkLst>
            <pc:docMk/>
            <pc:sldMk cId="1675290173" sldId="2147375411"/>
            <ac:spMk id="5" creationId="{4EBF9D10-1A69-689A-0467-0A08515DB007}"/>
          </ac:spMkLst>
        </pc:spChg>
        <pc:spChg chg="mod ord">
          <ac:chgData name="Douglas Daniel Reinoso Peña" userId="60d62e81-f7d7-4b4c-92cc-63fb6a945bb4" providerId="ADAL" clId="{B815062A-1CE0-47B2-B6FA-D2837D2FEAA4}" dt="2024-11-19T15:07:18.013" v="4840" actId="2711"/>
          <ac:spMkLst>
            <pc:docMk/>
            <pc:sldMk cId="1675290173" sldId="2147375411"/>
            <ac:spMk id="6" creationId="{7C3FA306-D14F-B9E0-E958-098CC01131F3}"/>
          </ac:spMkLst>
        </pc:spChg>
        <pc:spChg chg="add del mod modVis">
          <ac:chgData name="Douglas Daniel Reinoso Peña" userId="60d62e81-f7d7-4b4c-92cc-63fb6a945bb4" providerId="ADAL" clId="{B815062A-1CE0-47B2-B6FA-D2837D2FEAA4}" dt="2024-11-19T12:56:12.232" v="2098"/>
          <ac:spMkLst>
            <pc:docMk/>
            <pc:sldMk cId="1675290173" sldId="2147375411"/>
            <ac:spMk id="9" creationId="{23653E40-CC1D-2733-52C7-7471A2B6E632}"/>
          </ac:spMkLst>
        </pc:spChg>
        <pc:spChg chg="add del mod modVis">
          <ac:chgData name="Douglas Daniel Reinoso Peña" userId="60d62e81-f7d7-4b4c-92cc-63fb6a945bb4" providerId="ADAL" clId="{B815062A-1CE0-47B2-B6FA-D2837D2FEAA4}" dt="2024-11-19T12:56:13.769" v="2127"/>
          <ac:spMkLst>
            <pc:docMk/>
            <pc:sldMk cId="1675290173" sldId="2147375411"/>
            <ac:spMk id="10" creationId="{28BF07AA-75CE-44AA-021E-0752A18327DC}"/>
          </ac:spMkLst>
        </pc:spChg>
        <pc:spChg chg="add del mod modVis">
          <ac:chgData name="Douglas Daniel Reinoso Peña" userId="60d62e81-f7d7-4b4c-92cc-63fb6a945bb4" providerId="ADAL" clId="{B815062A-1CE0-47B2-B6FA-D2837D2FEAA4}" dt="2024-11-19T12:56:17.244" v="2152"/>
          <ac:spMkLst>
            <pc:docMk/>
            <pc:sldMk cId="1675290173" sldId="2147375411"/>
            <ac:spMk id="11" creationId="{1D89D22F-3286-7FC2-A09C-D0CF4552C0E0}"/>
          </ac:spMkLst>
        </pc:spChg>
        <pc:spChg chg="add del mod modVis">
          <ac:chgData name="Douglas Daniel Reinoso Peña" userId="60d62e81-f7d7-4b4c-92cc-63fb6a945bb4" providerId="ADAL" clId="{B815062A-1CE0-47B2-B6FA-D2837D2FEAA4}" dt="2024-11-19T12:56:18.443" v="2177"/>
          <ac:spMkLst>
            <pc:docMk/>
            <pc:sldMk cId="1675290173" sldId="2147375411"/>
            <ac:spMk id="12" creationId="{D6007802-9CEC-DDAF-3680-54E02C2F7A7D}"/>
          </ac:spMkLst>
        </pc:spChg>
        <pc:spChg chg="add del mod modVis">
          <ac:chgData name="Douglas Daniel Reinoso Peña" userId="60d62e81-f7d7-4b4c-92cc-63fb6a945bb4" providerId="ADAL" clId="{B815062A-1CE0-47B2-B6FA-D2837D2FEAA4}" dt="2024-11-19T14:12:56.079" v="4125"/>
          <ac:spMkLst>
            <pc:docMk/>
            <pc:sldMk cId="1675290173" sldId="2147375411"/>
            <ac:spMk id="13" creationId="{7C1ACC18-5548-4B4D-7AEE-0641B26F6439}"/>
          </ac:spMkLst>
        </pc:spChg>
        <pc:spChg chg="mod ord">
          <ac:chgData name="Douglas Daniel Reinoso Peña" userId="60d62e81-f7d7-4b4c-92cc-63fb6a945bb4" providerId="ADAL" clId="{B815062A-1CE0-47B2-B6FA-D2837D2FEAA4}" dt="2024-11-19T15:07:18.013" v="4840" actId="2711"/>
          <ac:spMkLst>
            <pc:docMk/>
            <pc:sldMk cId="1675290173" sldId="2147375411"/>
            <ac:spMk id="14" creationId="{8A11CA27-FC39-FD97-8DB1-569335A4F4C6}"/>
          </ac:spMkLst>
        </pc:spChg>
        <pc:spChg chg="add del mod modVis">
          <ac:chgData name="Douglas Daniel Reinoso Peña" userId="60d62e81-f7d7-4b4c-92cc-63fb6a945bb4" providerId="ADAL" clId="{B815062A-1CE0-47B2-B6FA-D2837D2FEAA4}" dt="2024-11-19T14:16:15.411" v="4329"/>
          <ac:spMkLst>
            <pc:docMk/>
            <pc:sldMk cId="1675290173" sldId="2147375411"/>
            <ac:spMk id="16" creationId="{D533AEC1-32E7-9D90-F0A7-73DE81A3CB96}"/>
          </ac:spMkLst>
        </pc:spChg>
        <pc:spChg chg="add del mod modVis">
          <ac:chgData name="Douglas Daniel Reinoso Peña" userId="60d62e81-f7d7-4b4c-92cc-63fb6a945bb4" providerId="ADAL" clId="{B815062A-1CE0-47B2-B6FA-D2837D2FEAA4}" dt="2024-11-19T14:16:16.251" v="4356"/>
          <ac:spMkLst>
            <pc:docMk/>
            <pc:sldMk cId="1675290173" sldId="2147375411"/>
            <ac:spMk id="17" creationId="{C8AE1469-2493-DF35-E842-555FDD8F9A38}"/>
          </ac:spMkLst>
        </pc:spChg>
        <pc:spChg chg="mod">
          <ac:chgData name="Douglas Daniel Reinoso Peña" userId="60d62e81-f7d7-4b4c-92cc-63fb6a945bb4" providerId="ADAL" clId="{B815062A-1CE0-47B2-B6FA-D2837D2FEAA4}" dt="2024-11-19T15:07:18.013" v="4840" actId="2711"/>
          <ac:spMkLst>
            <pc:docMk/>
            <pc:sldMk cId="1675290173" sldId="2147375411"/>
            <ac:spMk id="53" creationId="{96C77D7B-A688-FE8B-17C4-8478E8639DE1}"/>
          </ac:spMkLst>
        </pc:spChg>
        <pc:spChg chg="mod">
          <ac:chgData name="Douglas Daniel Reinoso Peña" userId="60d62e81-f7d7-4b4c-92cc-63fb6a945bb4" providerId="ADAL" clId="{B815062A-1CE0-47B2-B6FA-D2837D2FEAA4}" dt="2024-11-19T15:07:18.013" v="4840" actId="2711"/>
          <ac:spMkLst>
            <pc:docMk/>
            <pc:sldMk cId="1675290173" sldId="2147375411"/>
            <ac:spMk id="57" creationId="{29E8BFB3-32D2-906F-1188-664C7156BDF0}"/>
          </ac:spMkLst>
        </pc:spChg>
        <pc:spChg chg="mod">
          <ac:chgData name="Douglas Daniel Reinoso Peña" userId="60d62e81-f7d7-4b4c-92cc-63fb6a945bb4" providerId="ADAL" clId="{B815062A-1CE0-47B2-B6FA-D2837D2FEAA4}" dt="2024-11-19T15:07:18.013" v="4840" actId="2711"/>
          <ac:spMkLst>
            <pc:docMk/>
            <pc:sldMk cId="1675290173" sldId="2147375411"/>
            <ac:spMk id="61" creationId="{B7B93A70-2016-B398-9504-5E24EB45BB30}"/>
          </ac:spMkLst>
        </pc:spChg>
        <pc:spChg chg="mod">
          <ac:chgData name="Douglas Daniel Reinoso Peña" userId="60d62e81-f7d7-4b4c-92cc-63fb6a945bb4" providerId="ADAL" clId="{B815062A-1CE0-47B2-B6FA-D2837D2FEAA4}" dt="2024-11-19T15:07:18.013" v="4840" actId="2711"/>
          <ac:spMkLst>
            <pc:docMk/>
            <pc:sldMk cId="1675290173" sldId="2147375411"/>
            <ac:spMk id="74" creationId="{9979C93C-05D6-A22A-ABE4-21C4127B5456}"/>
          </ac:spMkLst>
        </pc:spChg>
        <pc:spChg chg="mod">
          <ac:chgData name="Douglas Daniel Reinoso Peña" userId="60d62e81-f7d7-4b4c-92cc-63fb6a945bb4" providerId="ADAL" clId="{B815062A-1CE0-47B2-B6FA-D2837D2FEAA4}" dt="2024-11-19T15:07:18.013" v="4840" actId="2711"/>
          <ac:spMkLst>
            <pc:docMk/>
            <pc:sldMk cId="1675290173" sldId="2147375411"/>
            <ac:spMk id="77" creationId="{6F14A632-C379-E571-59B7-2E69C3429500}"/>
          </ac:spMkLst>
        </pc:spChg>
        <pc:spChg chg="mod">
          <ac:chgData name="Douglas Daniel Reinoso Peña" userId="60d62e81-f7d7-4b4c-92cc-63fb6a945bb4" providerId="ADAL" clId="{B815062A-1CE0-47B2-B6FA-D2837D2FEAA4}" dt="2024-11-19T15:07:18.013" v="4840" actId="2711"/>
          <ac:spMkLst>
            <pc:docMk/>
            <pc:sldMk cId="1675290173" sldId="2147375411"/>
            <ac:spMk id="80" creationId="{2FA8B212-FA1F-4CA5-67CD-1CA973B0DAB1}"/>
          </ac:spMkLst>
        </pc:spChg>
        <pc:spChg chg="mod">
          <ac:chgData name="Douglas Daniel Reinoso Peña" userId="60d62e81-f7d7-4b4c-92cc-63fb6a945bb4" providerId="ADAL" clId="{B815062A-1CE0-47B2-B6FA-D2837D2FEAA4}" dt="2024-11-19T15:07:18.013" v="4840" actId="2711"/>
          <ac:spMkLst>
            <pc:docMk/>
            <pc:sldMk cId="1675290173" sldId="2147375411"/>
            <ac:spMk id="83" creationId="{1A56FC0B-FA2F-ADBE-6DF5-8B59EE930A48}"/>
          </ac:spMkLst>
        </pc:spChg>
        <pc:spChg chg="mod">
          <ac:chgData name="Douglas Daniel Reinoso Peña" userId="60d62e81-f7d7-4b4c-92cc-63fb6a945bb4" providerId="ADAL" clId="{B815062A-1CE0-47B2-B6FA-D2837D2FEAA4}" dt="2024-11-19T15:07:18.013" v="4840" actId="2711"/>
          <ac:spMkLst>
            <pc:docMk/>
            <pc:sldMk cId="1675290173" sldId="2147375411"/>
            <ac:spMk id="101" creationId="{1E4C0A6F-8CF4-C0CD-E4AB-85642DAE2A96}"/>
          </ac:spMkLst>
        </pc:spChg>
        <pc:spChg chg="mod ord">
          <ac:chgData name="Douglas Daniel Reinoso Peña" userId="60d62e81-f7d7-4b4c-92cc-63fb6a945bb4" providerId="ADAL" clId="{B815062A-1CE0-47B2-B6FA-D2837D2FEAA4}" dt="2024-11-19T15:07:18.013" v="4840" actId="2711"/>
          <ac:spMkLst>
            <pc:docMk/>
            <pc:sldMk cId="1675290173" sldId="2147375411"/>
            <ac:spMk id="105" creationId="{E0192440-3A6D-3690-1F7F-720EF8A9E71F}"/>
          </ac:spMkLst>
        </pc:spChg>
        <pc:spChg chg="mod ord">
          <ac:chgData name="Douglas Daniel Reinoso Peña" userId="60d62e81-f7d7-4b4c-92cc-63fb6a945bb4" providerId="ADAL" clId="{B815062A-1CE0-47B2-B6FA-D2837D2FEAA4}" dt="2024-11-19T15:07:26.059" v="4841" actId="14100"/>
          <ac:spMkLst>
            <pc:docMk/>
            <pc:sldMk cId="1675290173" sldId="2147375411"/>
            <ac:spMk id="106" creationId="{87C21A71-5B1E-2192-4BCB-564F366CF145}"/>
          </ac:spMkLst>
        </pc:spChg>
        <pc:spChg chg="mod ord">
          <ac:chgData name="Douglas Daniel Reinoso Peña" userId="60d62e81-f7d7-4b4c-92cc-63fb6a945bb4" providerId="ADAL" clId="{B815062A-1CE0-47B2-B6FA-D2837D2FEAA4}" dt="2024-11-19T15:07:18.013" v="4840" actId="2711"/>
          <ac:spMkLst>
            <pc:docMk/>
            <pc:sldMk cId="1675290173" sldId="2147375411"/>
            <ac:spMk id="108" creationId="{CA30BBB8-7866-6E1F-40EE-3217757A4B5F}"/>
          </ac:spMkLst>
        </pc:spChg>
        <pc:spChg chg="mod ord">
          <ac:chgData name="Douglas Daniel Reinoso Peña" userId="60d62e81-f7d7-4b4c-92cc-63fb6a945bb4" providerId="ADAL" clId="{B815062A-1CE0-47B2-B6FA-D2837D2FEAA4}" dt="2024-11-19T15:07:18.013" v="4840" actId="2711"/>
          <ac:spMkLst>
            <pc:docMk/>
            <pc:sldMk cId="1675290173" sldId="2147375411"/>
            <ac:spMk id="109" creationId="{943E59EC-A6F4-A9A0-6640-7A8434C39165}"/>
          </ac:spMkLst>
        </pc:spChg>
        <pc:spChg chg="mod ord">
          <ac:chgData name="Douglas Daniel Reinoso Peña" userId="60d62e81-f7d7-4b4c-92cc-63fb6a945bb4" providerId="ADAL" clId="{B815062A-1CE0-47B2-B6FA-D2837D2FEAA4}" dt="2024-11-19T15:07:18.013" v="4840" actId="2711"/>
          <ac:spMkLst>
            <pc:docMk/>
            <pc:sldMk cId="1675290173" sldId="2147375411"/>
            <ac:spMk id="110" creationId="{E0F91DBC-6C41-5EF9-5AD4-C839A8FC4CAB}"/>
          </ac:spMkLst>
        </pc:spChg>
        <pc:spChg chg="mod ord">
          <ac:chgData name="Douglas Daniel Reinoso Peña" userId="60d62e81-f7d7-4b4c-92cc-63fb6a945bb4" providerId="ADAL" clId="{B815062A-1CE0-47B2-B6FA-D2837D2FEAA4}" dt="2024-11-19T15:07:18.013" v="4840" actId="2711"/>
          <ac:spMkLst>
            <pc:docMk/>
            <pc:sldMk cId="1675290173" sldId="2147375411"/>
            <ac:spMk id="111" creationId="{2BB4AFEA-93C0-E1F8-4277-9DB91EB6C9D6}"/>
          </ac:spMkLst>
        </pc:spChg>
        <pc:spChg chg="mod ord">
          <ac:chgData name="Douglas Daniel Reinoso Peña" userId="60d62e81-f7d7-4b4c-92cc-63fb6a945bb4" providerId="ADAL" clId="{B815062A-1CE0-47B2-B6FA-D2837D2FEAA4}" dt="2024-11-19T15:07:18.013" v="4840" actId="2711"/>
          <ac:spMkLst>
            <pc:docMk/>
            <pc:sldMk cId="1675290173" sldId="2147375411"/>
            <ac:spMk id="113" creationId="{BD9C0302-F6E6-9488-FF16-A93982A0E001}"/>
          </ac:spMkLst>
        </pc:spChg>
        <pc:grpChg chg="mod ord">
          <ac:chgData name="Douglas Daniel Reinoso Peña" userId="60d62e81-f7d7-4b4c-92cc-63fb6a945bb4" providerId="ADAL" clId="{B815062A-1CE0-47B2-B6FA-D2837D2FEAA4}" dt="2024-11-19T14:13:09.860" v="4129" actId="207"/>
          <ac:grpSpMkLst>
            <pc:docMk/>
            <pc:sldMk cId="1675290173" sldId="2147375411"/>
            <ac:grpSpMk id="8" creationId="{7ECEF781-2B66-3089-ED14-9EC7510EAEEE}"/>
          </ac:grpSpMkLst>
        </pc:grpChg>
        <pc:grpChg chg="mod ord">
          <ac:chgData name="Douglas Daniel Reinoso Peña" userId="60d62e81-f7d7-4b4c-92cc-63fb6a945bb4" providerId="ADAL" clId="{B815062A-1CE0-47B2-B6FA-D2837D2FEAA4}" dt="2024-11-19T14:12:56.068" v="4095"/>
          <ac:grpSpMkLst>
            <pc:docMk/>
            <pc:sldMk cId="1675290173" sldId="2147375411"/>
            <ac:grpSpMk id="46" creationId="{DF877791-C85B-AB31-77F7-43F8774214DA}"/>
          </ac:grpSpMkLst>
        </pc:grpChg>
        <pc:grpChg chg="mod ord">
          <ac:chgData name="Douglas Daniel Reinoso Peña" userId="60d62e81-f7d7-4b4c-92cc-63fb6a945bb4" providerId="ADAL" clId="{B815062A-1CE0-47B2-B6FA-D2837D2FEAA4}" dt="2024-11-19T14:13:09.860" v="4129" actId="207"/>
          <ac:grpSpMkLst>
            <pc:docMk/>
            <pc:sldMk cId="1675290173" sldId="2147375411"/>
            <ac:grpSpMk id="59" creationId="{1AEACDE8-1172-E1BD-6230-00920D47BA17}"/>
          </ac:grpSpMkLst>
        </pc:grpChg>
        <pc:grpChg chg="mod ord">
          <ac:chgData name="Douglas Daniel Reinoso Peña" userId="60d62e81-f7d7-4b4c-92cc-63fb6a945bb4" providerId="ADAL" clId="{B815062A-1CE0-47B2-B6FA-D2837D2FEAA4}" dt="2024-11-19T14:13:09.860" v="4129" actId="207"/>
          <ac:grpSpMkLst>
            <pc:docMk/>
            <pc:sldMk cId="1675290173" sldId="2147375411"/>
            <ac:grpSpMk id="73" creationId="{408DFD73-BDB5-F809-FEB6-8BD58A7E6D99}"/>
          </ac:grpSpMkLst>
        </pc:grpChg>
        <pc:grpChg chg="mod ord">
          <ac:chgData name="Douglas Daniel Reinoso Peña" userId="60d62e81-f7d7-4b4c-92cc-63fb6a945bb4" providerId="ADAL" clId="{B815062A-1CE0-47B2-B6FA-D2837D2FEAA4}" dt="2024-11-19T14:13:09.860" v="4129" actId="207"/>
          <ac:grpSpMkLst>
            <pc:docMk/>
            <pc:sldMk cId="1675290173" sldId="2147375411"/>
            <ac:grpSpMk id="76" creationId="{AAE2754A-6B68-5A4D-428D-D59AA339F956}"/>
          </ac:grpSpMkLst>
        </pc:grpChg>
        <pc:grpChg chg="mod ord">
          <ac:chgData name="Douglas Daniel Reinoso Peña" userId="60d62e81-f7d7-4b4c-92cc-63fb6a945bb4" providerId="ADAL" clId="{B815062A-1CE0-47B2-B6FA-D2837D2FEAA4}" dt="2024-11-19T14:13:09.860" v="4129" actId="207"/>
          <ac:grpSpMkLst>
            <pc:docMk/>
            <pc:sldMk cId="1675290173" sldId="2147375411"/>
            <ac:grpSpMk id="79" creationId="{3548CD6F-0E9A-0D4F-1EBC-25ECF710CBC7}"/>
          </ac:grpSpMkLst>
        </pc:grpChg>
        <pc:grpChg chg="mod ord">
          <ac:chgData name="Douglas Daniel Reinoso Peña" userId="60d62e81-f7d7-4b4c-92cc-63fb6a945bb4" providerId="ADAL" clId="{B815062A-1CE0-47B2-B6FA-D2837D2FEAA4}" dt="2024-11-19T14:13:09.860" v="4129" actId="207"/>
          <ac:grpSpMkLst>
            <pc:docMk/>
            <pc:sldMk cId="1675290173" sldId="2147375411"/>
            <ac:grpSpMk id="104" creationId="{01F64599-62EE-325C-9409-AC098E752FF6}"/>
          </ac:grpSpMkLst>
        </pc:grpChg>
        <pc:graphicFrameChg chg="mod">
          <ac:chgData name="Douglas Daniel Reinoso Peña" userId="60d62e81-f7d7-4b4c-92cc-63fb6a945bb4" providerId="ADAL" clId="{B815062A-1CE0-47B2-B6FA-D2837D2FEAA4}" dt="2024-11-19T14:16:16.252" v="4358"/>
          <ac:graphicFrameMkLst>
            <pc:docMk/>
            <pc:sldMk cId="1675290173" sldId="2147375411"/>
            <ac:graphicFrameMk id="15" creationId="{15712D71-6F58-A7BD-E9AE-910A5D068179}"/>
          </ac:graphicFrameMkLst>
        </pc:graphicFrameChg>
        <pc:picChg chg="mod">
          <ac:chgData name="Douglas Daniel Reinoso Peña" userId="60d62e81-f7d7-4b4c-92cc-63fb6a945bb4" providerId="ADAL" clId="{B815062A-1CE0-47B2-B6FA-D2837D2FEAA4}" dt="2024-11-19T14:13:14.495" v="4130" actId="207"/>
          <ac:picMkLst>
            <pc:docMk/>
            <pc:sldMk cId="1675290173" sldId="2147375411"/>
            <ac:picMk id="7" creationId="{1079C959-6FE2-938C-0E76-90790BA82D23}"/>
          </ac:picMkLst>
        </pc:picChg>
        <pc:picChg chg="del">
          <ac:chgData name="Douglas Daniel Reinoso Peña" userId="60d62e81-f7d7-4b4c-92cc-63fb6a945bb4" providerId="ADAL" clId="{B815062A-1CE0-47B2-B6FA-D2837D2FEAA4}" dt="2024-11-19T12:56:25.303" v="2181" actId="478"/>
          <ac:picMkLst>
            <pc:docMk/>
            <pc:sldMk cId="1675290173" sldId="2147375411"/>
            <ac:picMk id="18" creationId="{26772F63-B14A-10D0-C493-57ED32DC9363}"/>
          </ac:picMkLst>
        </pc:picChg>
        <pc:picChg chg="mod">
          <ac:chgData name="Douglas Daniel Reinoso Peña" userId="60d62e81-f7d7-4b4c-92cc-63fb6a945bb4" providerId="ADAL" clId="{B815062A-1CE0-47B2-B6FA-D2837D2FEAA4}" dt="2024-11-19T14:13:14.495" v="4130" actId="207"/>
          <ac:picMkLst>
            <pc:docMk/>
            <pc:sldMk cId="1675290173" sldId="2147375411"/>
            <ac:picMk id="63" creationId="{28146B32-4EED-7DA1-FD55-C4716DD82FD1}"/>
          </ac:picMkLst>
        </pc:picChg>
        <pc:picChg chg="mod">
          <ac:chgData name="Douglas Daniel Reinoso Peña" userId="60d62e81-f7d7-4b4c-92cc-63fb6a945bb4" providerId="ADAL" clId="{B815062A-1CE0-47B2-B6FA-D2837D2FEAA4}" dt="2024-11-19T14:13:14.495" v="4130" actId="207"/>
          <ac:picMkLst>
            <pc:docMk/>
            <pc:sldMk cId="1675290173" sldId="2147375411"/>
            <ac:picMk id="75" creationId="{99BBC59B-79C8-641C-0C20-ACD63D7FD3AB}"/>
          </ac:picMkLst>
        </pc:picChg>
        <pc:picChg chg="mod">
          <ac:chgData name="Douglas Daniel Reinoso Peña" userId="60d62e81-f7d7-4b4c-92cc-63fb6a945bb4" providerId="ADAL" clId="{B815062A-1CE0-47B2-B6FA-D2837D2FEAA4}" dt="2024-11-19T14:13:14.495" v="4130" actId="207"/>
          <ac:picMkLst>
            <pc:docMk/>
            <pc:sldMk cId="1675290173" sldId="2147375411"/>
            <ac:picMk id="78" creationId="{325433A1-23F6-5E59-42D3-FD3A40B77057}"/>
          </ac:picMkLst>
        </pc:picChg>
        <pc:picChg chg="mod">
          <ac:chgData name="Douglas Daniel Reinoso Peña" userId="60d62e81-f7d7-4b4c-92cc-63fb6a945bb4" providerId="ADAL" clId="{B815062A-1CE0-47B2-B6FA-D2837D2FEAA4}" dt="2024-11-19T14:13:14.495" v="4130" actId="207"/>
          <ac:picMkLst>
            <pc:docMk/>
            <pc:sldMk cId="1675290173" sldId="2147375411"/>
            <ac:picMk id="81" creationId="{43A85D09-BDF3-314D-4279-D45F82B82B06}"/>
          </ac:picMkLst>
        </pc:picChg>
        <pc:picChg chg="mod">
          <ac:chgData name="Douglas Daniel Reinoso Peña" userId="60d62e81-f7d7-4b4c-92cc-63fb6a945bb4" providerId="ADAL" clId="{B815062A-1CE0-47B2-B6FA-D2837D2FEAA4}" dt="2024-11-19T14:13:14.495" v="4130" actId="207"/>
          <ac:picMkLst>
            <pc:docMk/>
            <pc:sldMk cId="1675290173" sldId="2147375411"/>
            <ac:picMk id="103" creationId="{2592E408-49AE-7BBD-B18E-DA466EB3B5C0}"/>
          </ac:picMkLst>
        </pc:picChg>
      </pc:sldChg>
      <pc:sldChg chg="del mod modShow">
        <pc:chgData name="Douglas Daniel Reinoso Peña" userId="60d62e81-f7d7-4b4c-92cc-63fb6a945bb4" providerId="ADAL" clId="{B815062A-1CE0-47B2-B6FA-D2837D2FEAA4}" dt="2024-11-19T12:32:57.174" v="1251" actId="47"/>
        <pc:sldMkLst>
          <pc:docMk/>
          <pc:sldMk cId="1337158270" sldId="2147375800"/>
        </pc:sldMkLst>
      </pc:sldChg>
      <pc:sldChg chg="addSp delSp modSp mod modClrScheme chgLayout">
        <pc:chgData name="Douglas Daniel Reinoso Peña" userId="60d62e81-f7d7-4b4c-92cc-63fb6a945bb4" providerId="ADAL" clId="{B815062A-1CE0-47B2-B6FA-D2837D2FEAA4}" dt="2024-11-19T15:05:16.728" v="4832" actId="14100"/>
        <pc:sldMkLst>
          <pc:docMk/>
          <pc:sldMk cId="1425082066" sldId="2147375801"/>
        </pc:sldMkLst>
        <pc:spChg chg="add mod ord">
          <ac:chgData name="Douglas Daniel Reinoso Peña" userId="60d62e81-f7d7-4b4c-92cc-63fb6a945bb4" providerId="ADAL" clId="{B815062A-1CE0-47B2-B6FA-D2837D2FEAA4}" dt="2024-11-19T12:31:02.919" v="1224" actId="948"/>
          <ac:spMkLst>
            <pc:docMk/>
            <pc:sldMk cId="1425082066" sldId="2147375801"/>
            <ac:spMk id="2" creationId="{3B9635A9-7683-86FC-DFAA-210F68F48E7D}"/>
          </ac:spMkLst>
        </pc:spChg>
        <pc:spChg chg="add del mod modVis">
          <ac:chgData name="Douglas Daniel Reinoso Peña" userId="60d62e81-f7d7-4b4c-92cc-63fb6a945bb4" providerId="ADAL" clId="{B815062A-1CE0-47B2-B6FA-D2837D2FEAA4}" dt="2024-11-19T12:29:28.374" v="1142"/>
          <ac:spMkLst>
            <pc:docMk/>
            <pc:sldMk cId="1425082066" sldId="2147375801"/>
            <ac:spMk id="3" creationId="{BD47FA3F-7755-4D9E-F6F2-1A241B7378A7}"/>
          </ac:spMkLst>
        </pc:spChg>
        <pc:spChg chg="mod">
          <ac:chgData name="Douglas Daniel Reinoso Peña" userId="60d62e81-f7d7-4b4c-92cc-63fb6a945bb4" providerId="ADAL" clId="{B815062A-1CE0-47B2-B6FA-D2837D2FEAA4}" dt="2024-11-19T12:33:57.490" v="1301" actId="14100"/>
          <ac:spMkLst>
            <pc:docMk/>
            <pc:sldMk cId="1425082066" sldId="2147375801"/>
            <ac:spMk id="5" creationId="{C5ADAF97-E895-3BE6-89C6-E568C3589501}"/>
          </ac:spMkLst>
        </pc:spChg>
        <pc:spChg chg="mod">
          <ac:chgData name="Douglas Daniel Reinoso Peña" userId="60d62e81-f7d7-4b4c-92cc-63fb6a945bb4" providerId="ADAL" clId="{B815062A-1CE0-47B2-B6FA-D2837D2FEAA4}" dt="2024-11-19T15:05:16.728" v="4832" actId="14100"/>
          <ac:spMkLst>
            <pc:docMk/>
            <pc:sldMk cId="1425082066" sldId="2147375801"/>
            <ac:spMk id="6" creationId="{E691AD0C-5607-26AD-C116-AC94D1E5DE2A}"/>
          </ac:spMkLst>
        </pc:spChg>
        <pc:spChg chg="mod">
          <ac:chgData name="Douglas Daniel Reinoso Peña" userId="60d62e81-f7d7-4b4c-92cc-63fb6a945bb4" providerId="ADAL" clId="{B815062A-1CE0-47B2-B6FA-D2837D2FEAA4}" dt="2024-11-19T15:05:13.416" v="4831" actId="14100"/>
          <ac:spMkLst>
            <pc:docMk/>
            <pc:sldMk cId="1425082066" sldId="2147375801"/>
            <ac:spMk id="7" creationId="{0D28349F-2AF6-BF75-1128-174A8062976D}"/>
          </ac:spMkLst>
        </pc:spChg>
        <pc:spChg chg="mod">
          <ac:chgData name="Douglas Daniel Reinoso Peña" userId="60d62e81-f7d7-4b4c-92cc-63fb6a945bb4" providerId="ADAL" clId="{B815062A-1CE0-47B2-B6FA-D2837D2FEAA4}" dt="2024-11-19T12:33:57.490" v="1301" actId="14100"/>
          <ac:spMkLst>
            <pc:docMk/>
            <pc:sldMk cId="1425082066" sldId="2147375801"/>
            <ac:spMk id="9" creationId="{A3A32719-5B5B-75D8-6864-0E39A2560E49}"/>
          </ac:spMkLst>
        </pc:spChg>
        <pc:spChg chg="add del mod modVis">
          <ac:chgData name="Douglas Daniel Reinoso Peña" userId="60d62e81-f7d7-4b4c-92cc-63fb6a945bb4" providerId="ADAL" clId="{B815062A-1CE0-47B2-B6FA-D2837D2FEAA4}" dt="2024-11-19T12:29:30.664" v="1168"/>
          <ac:spMkLst>
            <pc:docMk/>
            <pc:sldMk cId="1425082066" sldId="2147375801"/>
            <ac:spMk id="10" creationId="{97DA5A22-764E-1CFF-DBE9-65C244C6FCFB}"/>
          </ac:spMkLst>
        </pc:spChg>
        <pc:spChg chg="add del mod ord">
          <ac:chgData name="Douglas Daniel Reinoso Peña" userId="60d62e81-f7d7-4b4c-92cc-63fb6a945bb4" providerId="ADAL" clId="{B815062A-1CE0-47B2-B6FA-D2837D2FEAA4}" dt="2024-11-19T12:31:02.359" v="1223" actId="700"/>
          <ac:spMkLst>
            <pc:docMk/>
            <pc:sldMk cId="1425082066" sldId="2147375801"/>
            <ac:spMk id="11" creationId="{A2F2D291-FE19-457A-30FC-9B0003C9DBF8}"/>
          </ac:spMkLst>
        </pc:spChg>
        <pc:spChg chg="add del mod ord">
          <ac:chgData name="Douglas Daniel Reinoso Peña" userId="60d62e81-f7d7-4b4c-92cc-63fb6a945bb4" providerId="ADAL" clId="{B815062A-1CE0-47B2-B6FA-D2837D2FEAA4}" dt="2024-11-19T12:31:02.359" v="1223" actId="700"/>
          <ac:spMkLst>
            <pc:docMk/>
            <pc:sldMk cId="1425082066" sldId="2147375801"/>
            <ac:spMk id="12" creationId="{B5446D74-AFDC-A5E5-8834-38024507C6A1}"/>
          </ac:spMkLst>
        </pc:spChg>
        <pc:spChg chg="del">
          <ac:chgData name="Douglas Daniel Reinoso Peña" userId="60d62e81-f7d7-4b4c-92cc-63fb6a945bb4" providerId="ADAL" clId="{B815062A-1CE0-47B2-B6FA-D2837D2FEAA4}" dt="2024-11-19T12:29:17.754" v="1119" actId="478"/>
          <ac:spMkLst>
            <pc:docMk/>
            <pc:sldMk cId="1425082066" sldId="2147375801"/>
            <ac:spMk id="28" creationId="{BD9E9F46-818E-3A84-E6FA-2D7B792808C8}"/>
          </ac:spMkLst>
        </pc:spChg>
        <pc:spChg chg="mod">
          <ac:chgData name="Douglas Daniel Reinoso Peña" userId="60d62e81-f7d7-4b4c-92cc-63fb6a945bb4" providerId="ADAL" clId="{B815062A-1CE0-47B2-B6FA-D2837D2FEAA4}" dt="2024-11-19T14:09:50.598" v="3917" actId="207"/>
          <ac:spMkLst>
            <pc:docMk/>
            <pc:sldMk cId="1425082066" sldId="2147375801"/>
            <ac:spMk id="29" creationId="{3378996D-724D-BDD0-5FF8-288EC4320A0F}"/>
          </ac:spMkLst>
        </pc:spChg>
        <pc:spChg chg="add del mod modVis">
          <ac:chgData name="Douglas Daniel Reinoso Peña" userId="60d62e81-f7d7-4b4c-92cc-63fb6a945bb4" providerId="ADAL" clId="{B815062A-1CE0-47B2-B6FA-D2837D2FEAA4}" dt="2024-11-19T12:30:57.952" v="1217" actId="962"/>
          <ac:spMkLst>
            <pc:docMk/>
            <pc:sldMk cId="1425082066" sldId="2147375801"/>
            <ac:spMk id="30" creationId="{41F9619C-3FF6-CC4E-B89E-0BC944F4362F}"/>
          </ac:spMkLst>
        </pc:spChg>
        <pc:spChg chg="add del mod modVis">
          <ac:chgData name="Douglas Daniel Reinoso Peña" userId="60d62e81-f7d7-4b4c-92cc-63fb6a945bb4" providerId="ADAL" clId="{B815062A-1CE0-47B2-B6FA-D2837D2FEAA4}" dt="2024-11-19T12:31:02.939" v="1245"/>
          <ac:spMkLst>
            <pc:docMk/>
            <pc:sldMk cId="1425082066" sldId="2147375801"/>
            <ac:spMk id="31" creationId="{9D83743D-7F08-8E40-9CFB-29968A02F939}"/>
          </ac:spMkLst>
        </pc:spChg>
        <pc:grpChg chg="del mod">
          <ac:chgData name="Douglas Daniel Reinoso Peña" userId="60d62e81-f7d7-4b4c-92cc-63fb6a945bb4" providerId="ADAL" clId="{B815062A-1CE0-47B2-B6FA-D2837D2FEAA4}" dt="2024-11-19T12:33:04.228" v="1252" actId="478"/>
          <ac:grpSpMkLst>
            <pc:docMk/>
            <pc:sldMk cId="1425082066" sldId="2147375801"/>
            <ac:grpSpMk id="13" creationId="{B70BF22D-2A3D-984B-8AFE-E6BAC24C4718}"/>
          </ac:grpSpMkLst>
        </pc:grpChg>
        <pc:graphicFrameChg chg="mod">
          <ac:chgData name="Douglas Daniel Reinoso Peña" userId="60d62e81-f7d7-4b4c-92cc-63fb6a945bb4" providerId="ADAL" clId="{B815062A-1CE0-47B2-B6FA-D2837D2FEAA4}" dt="2024-11-19T12:31:02.939" v="1247"/>
          <ac:graphicFrameMkLst>
            <pc:docMk/>
            <pc:sldMk cId="1425082066" sldId="2147375801"/>
            <ac:graphicFrameMk id="8" creationId="{070DE9C5-D599-ED1E-E56B-56A69468E304}"/>
          </ac:graphicFrameMkLst>
        </pc:graphicFrameChg>
        <pc:picChg chg="mod">
          <ac:chgData name="Douglas Daniel Reinoso Peña" userId="60d62e81-f7d7-4b4c-92cc-63fb6a945bb4" providerId="ADAL" clId="{B815062A-1CE0-47B2-B6FA-D2837D2FEAA4}" dt="2024-11-19T12:34:14.109" v="1332" actId="1036"/>
          <ac:picMkLst>
            <pc:docMk/>
            <pc:sldMk cId="1425082066" sldId="2147375801"/>
            <ac:picMk id="4" creationId="{71E6B864-2D5C-B1D9-A3AB-884E3D6534DF}"/>
          </ac:picMkLst>
        </pc:picChg>
        <pc:picChg chg="mod">
          <ac:chgData name="Douglas Daniel Reinoso Peña" userId="60d62e81-f7d7-4b4c-92cc-63fb6a945bb4" providerId="ADAL" clId="{B815062A-1CE0-47B2-B6FA-D2837D2FEAA4}" dt="2024-11-19T12:34:14.109" v="1332" actId="1036"/>
          <ac:picMkLst>
            <pc:docMk/>
            <pc:sldMk cId="1425082066" sldId="2147375801"/>
            <ac:picMk id="1026" creationId="{A5DB7683-E301-4EDD-C011-C360C8447C8D}"/>
          </ac:picMkLst>
        </pc:picChg>
        <pc:picChg chg="mod">
          <ac:chgData name="Douglas Daniel Reinoso Peña" userId="60d62e81-f7d7-4b4c-92cc-63fb6a945bb4" providerId="ADAL" clId="{B815062A-1CE0-47B2-B6FA-D2837D2FEAA4}" dt="2024-11-19T12:34:14.109" v="1332" actId="1036"/>
          <ac:picMkLst>
            <pc:docMk/>
            <pc:sldMk cId="1425082066" sldId="2147375801"/>
            <ac:picMk id="1030" creationId="{A1D2AEF5-52EF-8E7D-9E22-08E97A7ADBE8}"/>
          </ac:picMkLst>
        </pc:picChg>
        <pc:picChg chg="mod">
          <ac:chgData name="Douglas Daniel Reinoso Peña" userId="60d62e81-f7d7-4b4c-92cc-63fb6a945bb4" providerId="ADAL" clId="{B815062A-1CE0-47B2-B6FA-D2837D2FEAA4}" dt="2024-11-19T12:34:14.109" v="1332" actId="1036"/>
          <ac:picMkLst>
            <pc:docMk/>
            <pc:sldMk cId="1425082066" sldId="2147375801"/>
            <ac:picMk id="1032" creationId="{4484D4B8-89D5-0FC3-1D45-FDD80C403191}"/>
          </ac:picMkLst>
        </pc:picChg>
      </pc:sldChg>
      <pc:sldChg chg="addSp modSp del mod modClrScheme modShow chgLayout">
        <pc:chgData name="Douglas Daniel Reinoso Peña" userId="60d62e81-f7d7-4b4c-92cc-63fb6a945bb4" providerId="ADAL" clId="{B815062A-1CE0-47B2-B6FA-D2837D2FEAA4}" dt="2024-11-19T12:32:52.295" v="1250" actId="47"/>
        <pc:sldMkLst>
          <pc:docMk/>
          <pc:sldMk cId="4023866552" sldId="2147375806"/>
        </pc:sldMkLst>
        <pc:spChg chg="add mod ord">
          <ac:chgData name="Douglas Daniel Reinoso Peña" userId="60d62e81-f7d7-4b4c-92cc-63fb6a945bb4" providerId="ADAL" clId="{B815062A-1CE0-47B2-B6FA-D2837D2FEAA4}" dt="2024-11-18T21:00:07.147" v="103" actId="700"/>
          <ac:spMkLst>
            <pc:docMk/>
            <pc:sldMk cId="4023866552" sldId="2147375806"/>
            <ac:spMk id="5" creationId="{54CC83A3-3453-E8D7-7255-FC93D2BBFF0B}"/>
          </ac:spMkLst>
        </pc:spChg>
      </pc:sldChg>
      <pc:sldChg chg="addSp delSp modSp mod modClrScheme chgLayout">
        <pc:chgData name="Douglas Daniel Reinoso Peña" userId="60d62e81-f7d7-4b4c-92cc-63fb6a945bb4" providerId="ADAL" clId="{B815062A-1CE0-47B2-B6FA-D2837D2FEAA4}" dt="2024-11-20T14:26:41.206" v="6900" actId="255"/>
        <pc:sldMkLst>
          <pc:docMk/>
          <pc:sldMk cId="60143758" sldId="2147476144"/>
        </pc:sldMkLst>
        <pc:spChg chg="mod">
          <ac:chgData name="Douglas Daniel Reinoso Peña" userId="60d62e81-f7d7-4b4c-92cc-63fb6a945bb4" providerId="ADAL" clId="{B815062A-1CE0-47B2-B6FA-D2837D2FEAA4}" dt="2024-11-20T14:26:26.332" v="6896" actId="2711"/>
          <ac:spMkLst>
            <pc:docMk/>
            <pc:sldMk cId="60143758" sldId="2147476144"/>
            <ac:spMk id="2" creationId="{38249746-794F-F0F0-A08A-88F3C13305B9}"/>
          </ac:spMkLst>
        </pc:spChg>
        <pc:spChg chg="mod">
          <ac:chgData name="Douglas Daniel Reinoso Peña" userId="60d62e81-f7d7-4b4c-92cc-63fb6a945bb4" providerId="ADAL" clId="{B815062A-1CE0-47B2-B6FA-D2837D2FEAA4}" dt="2024-11-20T14:26:26.332" v="6896" actId="2711"/>
          <ac:spMkLst>
            <pc:docMk/>
            <pc:sldMk cId="60143758" sldId="2147476144"/>
            <ac:spMk id="3" creationId="{2B40E7C5-8E9A-C9B3-09FD-AF2BE35D715A}"/>
          </ac:spMkLst>
        </pc:spChg>
        <pc:spChg chg="add mod ord">
          <ac:chgData name="Douglas Daniel Reinoso Peña" userId="60d62e81-f7d7-4b4c-92cc-63fb6a945bb4" providerId="ADAL" clId="{B815062A-1CE0-47B2-B6FA-D2837D2FEAA4}" dt="2024-11-20T14:26:26.883" v="6897" actId="948"/>
          <ac:spMkLst>
            <pc:docMk/>
            <pc:sldMk cId="60143758" sldId="2147476144"/>
            <ac:spMk id="4" creationId="{8B315A3B-8FED-86F9-EC9B-1D25C620AC99}"/>
          </ac:spMkLst>
        </pc:spChg>
        <pc:spChg chg="mod">
          <ac:chgData name="Douglas Daniel Reinoso Peña" userId="60d62e81-f7d7-4b4c-92cc-63fb6a945bb4" providerId="ADAL" clId="{B815062A-1CE0-47B2-B6FA-D2837D2FEAA4}" dt="2024-11-20T14:26:26.332" v="6896" actId="2711"/>
          <ac:spMkLst>
            <pc:docMk/>
            <pc:sldMk cId="60143758" sldId="2147476144"/>
            <ac:spMk id="6" creationId="{07AA51FC-6E57-7D61-4B60-FC756F838FE7}"/>
          </ac:spMkLst>
        </pc:spChg>
        <pc:spChg chg="add mod">
          <ac:chgData name="Douglas Daniel Reinoso Peña" userId="60d62e81-f7d7-4b4c-92cc-63fb6a945bb4" providerId="ADAL" clId="{B815062A-1CE0-47B2-B6FA-D2837D2FEAA4}" dt="2024-11-20T14:26:26.332" v="6896" actId="2711"/>
          <ac:spMkLst>
            <pc:docMk/>
            <pc:sldMk cId="60143758" sldId="2147476144"/>
            <ac:spMk id="10" creationId="{29877C9B-8593-284E-EAAC-A7D5F7315B77}"/>
          </ac:spMkLst>
        </pc:spChg>
        <pc:spChg chg="mod">
          <ac:chgData name="Douglas Daniel Reinoso Peña" userId="60d62e81-f7d7-4b4c-92cc-63fb6a945bb4" providerId="ADAL" clId="{B815062A-1CE0-47B2-B6FA-D2837D2FEAA4}" dt="2024-11-20T14:26:26.332" v="6896" actId="2711"/>
          <ac:spMkLst>
            <pc:docMk/>
            <pc:sldMk cId="60143758" sldId="2147476144"/>
            <ac:spMk id="17" creationId="{E9E62D2C-6F4A-97BE-4B0E-4A61CEA7282A}"/>
          </ac:spMkLst>
        </pc:spChg>
        <pc:spChg chg="mod">
          <ac:chgData name="Douglas Daniel Reinoso Peña" userId="60d62e81-f7d7-4b4c-92cc-63fb6a945bb4" providerId="ADAL" clId="{B815062A-1CE0-47B2-B6FA-D2837D2FEAA4}" dt="2024-11-20T14:26:41.206" v="6900" actId="255"/>
          <ac:spMkLst>
            <pc:docMk/>
            <pc:sldMk cId="60143758" sldId="2147476144"/>
            <ac:spMk id="18" creationId="{CAA8B60A-3654-FDBD-BA88-6CE6FF2338FC}"/>
          </ac:spMkLst>
        </pc:spChg>
        <pc:spChg chg="mod">
          <ac:chgData name="Douglas Daniel Reinoso Peña" userId="60d62e81-f7d7-4b4c-92cc-63fb6a945bb4" providerId="ADAL" clId="{B815062A-1CE0-47B2-B6FA-D2837D2FEAA4}" dt="2024-11-20T14:26:41.206" v="6900" actId="255"/>
          <ac:spMkLst>
            <pc:docMk/>
            <pc:sldMk cId="60143758" sldId="2147476144"/>
            <ac:spMk id="19" creationId="{62540822-8CF2-1AED-EAA7-0159B3B39296}"/>
          </ac:spMkLst>
        </pc:spChg>
        <pc:spChg chg="mod">
          <ac:chgData name="Douglas Daniel Reinoso Peña" userId="60d62e81-f7d7-4b4c-92cc-63fb6a945bb4" providerId="ADAL" clId="{B815062A-1CE0-47B2-B6FA-D2837D2FEAA4}" dt="2024-11-20T14:26:41.206" v="6900" actId="255"/>
          <ac:spMkLst>
            <pc:docMk/>
            <pc:sldMk cId="60143758" sldId="2147476144"/>
            <ac:spMk id="20" creationId="{3D781BA2-A25A-23A9-FD9E-CA9B8B4F0153}"/>
          </ac:spMkLst>
        </pc:spChg>
        <pc:spChg chg="mod">
          <ac:chgData name="Douglas Daniel Reinoso Peña" userId="60d62e81-f7d7-4b4c-92cc-63fb6a945bb4" providerId="ADAL" clId="{B815062A-1CE0-47B2-B6FA-D2837D2FEAA4}" dt="2024-11-20T14:26:41.206" v="6900" actId="255"/>
          <ac:spMkLst>
            <pc:docMk/>
            <pc:sldMk cId="60143758" sldId="2147476144"/>
            <ac:spMk id="21" creationId="{C9312A7D-D506-E411-0342-88D66C88A9B5}"/>
          </ac:spMkLst>
        </pc:spChg>
        <pc:spChg chg="mod">
          <ac:chgData name="Douglas Daniel Reinoso Peña" userId="60d62e81-f7d7-4b4c-92cc-63fb6a945bb4" providerId="ADAL" clId="{B815062A-1CE0-47B2-B6FA-D2837D2FEAA4}" dt="2024-11-20T14:26:41.206" v="6900" actId="255"/>
          <ac:spMkLst>
            <pc:docMk/>
            <pc:sldMk cId="60143758" sldId="2147476144"/>
            <ac:spMk id="22" creationId="{DDF5BA4D-621A-B9A9-BF4F-BA2AA6EFCCF0}"/>
          </ac:spMkLst>
        </pc:spChg>
        <pc:spChg chg="mod">
          <ac:chgData name="Douglas Daniel Reinoso Peña" userId="60d62e81-f7d7-4b4c-92cc-63fb6a945bb4" providerId="ADAL" clId="{B815062A-1CE0-47B2-B6FA-D2837D2FEAA4}" dt="2024-11-20T14:26:41.206" v="6900" actId="255"/>
          <ac:spMkLst>
            <pc:docMk/>
            <pc:sldMk cId="60143758" sldId="2147476144"/>
            <ac:spMk id="23" creationId="{FC268BA8-B0F0-823C-CCD5-60646B620266}"/>
          </ac:spMkLst>
        </pc:spChg>
        <pc:spChg chg="mod">
          <ac:chgData name="Douglas Daniel Reinoso Peña" userId="60d62e81-f7d7-4b4c-92cc-63fb6a945bb4" providerId="ADAL" clId="{B815062A-1CE0-47B2-B6FA-D2837D2FEAA4}" dt="2024-11-20T14:26:41.206" v="6900" actId="255"/>
          <ac:spMkLst>
            <pc:docMk/>
            <pc:sldMk cId="60143758" sldId="2147476144"/>
            <ac:spMk id="24" creationId="{A4D8581B-5654-595D-3F87-FB60E23C702C}"/>
          </ac:spMkLst>
        </pc:spChg>
        <pc:spChg chg="mod">
          <ac:chgData name="Douglas Daniel Reinoso Peña" userId="60d62e81-f7d7-4b4c-92cc-63fb6a945bb4" providerId="ADAL" clId="{B815062A-1CE0-47B2-B6FA-D2837D2FEAA4}" dt="2024-11-20T14:26:41.206" v="6900" actId="255"/>
          <ac:spMkLst>
            <pc:docMk/>
            <pc:sldMk cId="60143758" sldId="2147476144"/>
            <ac:spMk id="25" creationId="{3134F95D-D9F0-63B9-030C-36094F702F4F}"/>
          </ac:spMkLst>
        </pc:spChg>
        <pc:spChg chg="mod">
          <ac:chgData name="Douglas Daniel Reinoso Peña" userId="60d62e81-f7d7-4b4c-92cc-63fb6a945bb4" providerId="ADAL" clId="{B815062A-1CE0-47B2-B6FA-D2837D2FEAA4}" dt="2024-11-20T14:26:41.206" v="6900" actId="255"/>
          <ac:spMkLst>
            <pc:docMk/>
            <pc:sldMk cId="60143758" sldId="2147476144"/>
            <ac:spMk id="26" creationId="{6B4AA648-22F4-F3DD-BC5F-E5B82AB9E512}"/>
          </ac:spMkLst>
        </pc:spChg>
        <pc:spChg chg="mod">
          <ac:chgData name="Douglas Daniel Reinoso Peña" userId="60d62e81-f7d7-4b4c-92cc-63fb6a945bb4" providerId="ADAL" clId="{B815062A-1CE0-47B2-B6FA-D2837D2FEAA4}" dt="2024-11-20T14:26:41.206" v="6900" actId="255"/>
          <ac:spMkLst>
            <pc:docMk/>
            <pc:sldMk cId="60143758" sldId="2147476144"/>
            <ac:spMk id="27" creationId="{BD1B2C8A-9EEA-A826-5F5B-8DCFD76B654C}"/>
          </ac:spMkLst>
        </pc:spChg>
        <pc:spChg chg="mod">
          <ac:chgData name="Douglas Daniel Reinoso Peña" userId="60d62e81-f7d7-4b4c-92cc-63fb6a945bb4" providerId="ADAL" clId="{B815062A-1CE0-47B2-B6FA-D2837D2FEAA4}" dt="2024-11-20T14:26:41.206" v="6900" actId="255"/>
          <ac:spMkLst>
            <pc:docMk/>
            <pc:sldMk cId="60143758" sldId="2147476144"/>
            <ac:spMk id="28" creationId="{3F51B596-13FB-97E6-ADEB-220B4D99C3BD}"/>
          </ac:spMkLst>
        </pc:spChg>
        <pc:spChg chg="mod">
          <ac:chgData name="Douglas Daniel Reinoso Peña" userId="60d62e81-f7d7-4b4c-92cc-63fb6a945bb4" providerId="ADAL" clId="{B815062A-1CE0-47B2-B6FA-D2837D2FEAA4}" dt="2024-11-20T14:26:26.332" v="6896" actId="2711"/>
          <ac:spMkLst>
            <pc:docMk/>
            <pc:sldMk cId="60143758" sldId="2147476144"/>
            <ac:spMk id="29" creationId="{5EAF2643-CCFB-1FA5-87BA-8FB4EE4AC60A}"/>
          </ac:spMkLst>
        </pc:spChg>
        <pc:spChg chg="mod">
          <ac:chgData name="Douglas Daniel Reinoso Peña" userId="60d62e81-f7d7-4b4c-92cc-63fb6a945bb4" providerId="ADAL" clId="{B815062A-1CE0-47B2-B6FA-D2837D2FEAA4}" dt="2024-11-20T14:26:26.332" v="6896" actId="2711"/>
          <ac:spMkLst>
            <pc:docMk/>
            <pc:sldMk cId="60143758" sldId="2147476144"/>
            <ac:spMk id="31" creationId="{EEAA304F-00F2-136A-B329-70B42B8E62C5}"/>
          </ac:spMkLst>
        </pc:spChg>
        <pc:spChg chg="mod">
          <ac:chgData name="Douglas Daniel Reinoso Peña" userId="60d62e81-f7d7-4b4c-92cc-63fb6a945bb4" providerId="ADAL" clId="{B815062A-1CE0-47B2-B6FA-D2837D2FEAA4}" dt="2024-11-20T14:26:26.332" v="6896" actId="2711"/>
          <ac:spMkLst>
            <pc:docMk/>
            <pc:sldMk cId="60143758" sldId="2147476144"/>
            <ac:spMk id="33" creationId="{D3144F2C-5AB1-F739-EAF5-EACC0583CDBF}"/>
          </ac:spMkLst>
        </pc:spChg>
        <pc:spChg chg="mod">
          <ac:chgData name="Douglas Daniel Reinoso Peña" userId="60d62e81-f7d7-4b4c-92cc-63fb6a945bb4" providerId="ADAL" clId="{B815062A-1CE0-47B2-B6FA-D2837D2FEAA4}" dt="2024-11-20T14:26:26.332" v="6896" actId="2711"/>
          <ac:spMkLst>
            <pc:docMk/>
            <pc:sldMk cId="60143758" sldId="2147476144"/>
            <ac:spMk id="34" creationId="{C152D556-849B-AAF0-77D7-3ED25AF4120B}"/>
          </ac:spMkLst>
        </pc:spChg>
        <pc:spChg chg="mod">
          <ac:chgData name="Douglas Daniel Reinoso Peña" userId="60d62e81-f7d7-4b4c-92cc-63fb6a945bb4" providerId="ADAL" clId="{B815062A-1CE0-47B2-B6FA-D2837D2FEAA4}" dt="2024-11-20T14:26:26.332" v="6896" actId="2711"/>
          <ac:spMkLst>
            <pc:docMk/>
            <pc:sldMk cId="60143758" sldId="2147476144"/>
            <ac:spMk id="36" creationId="{D8C69BDE-BA34-6CB9-6006-E880D4A032E1}"/>
          </ac:spMkLst>
        </pc:spChg>
        <pc:spChg chg="mod">
          <ac:chgData name="Douglas Daniel Reinoso Peña" userId="60d62e81-f7d7-4b4c-92cc-63fb6a945bb4" providerId="ADAL" clId="{B815062A-1CE0-47B2-B6FA-D2837D2FEAA4}" dt="2024-11-20T14:26:26.332" v="6896" actId="2711"/>
          <ac:spMkLst>
            <pc:docMk/>
            <pc:sldMk cId="60143758" sldId="2147476144"/>
            <ac:spMk id="37" creationId="{451091DF-2C8D-F691-8E9C-3077EF9F73E8}"/>
          </ac:spMkLst>
        </pc:spChg>
        <pc:spChg chg="mod">
          <ac:chgData name="Douglas Daniel Reinoso Peña" userId="60d62e81-f7d7-4b4c-92cc-63fb6a945bb4" providerId="ADAL" clId="{B815062A-1CE0-47B2-B6FA-D2837D2FEAA4}" dt="2024-11-20T14:26:26.332" v="6896" actId="2711"/>
          <ac:spMkLst>
            <pc:docMk/>
            <pc:sldMk cId="60143758" sldId="2147476144"/>
            <ac:spMk id="39" creationId="{448144CA-D179-E7FE-7F73-D69078DE2B4A}"/>
          </ac:spMkLst>
        </pc:spChg>
        <pc:spChg chg="mod">
          <ac:chgData name="Douglas Daniel Reinoso Peña" userId="60d62e81-f7d7-4b4c-92cc-63fb6a945bb4" providerId="ADAL" clId="{B815062A-1CE0-47B2-B6FA-D2837D2FEAA4}" dt="2024-11-20T14:26:26.332" v="6896" actId="2711"/>
          <ac:spMkLst>
            <pc:docMk/>
            <pc:sldMk cId="60143758" sldId="2147476144"/>
            <ac:spMk id="40" creationId="{FB2FF1F1-4010-7D85-17F9-9987F8F8121F}"/>
          </ac:spMkLst>
        </pc:spChg>
        <pc:spChg chg="del mod">
          <ac:chgData name="Douglas Daniel Reinoso Peña" userId="60d62e81-f7d7-4b4c-92cc-63fb6a945bb4" providerId="ADAL" clId="{B815062A-1CE0-47B2-B6FA-D2837D2FEAA4}" dt="2024-11-20T12:36:43.005" v="6590" actId="478"/>
          <ac:spMkLst>
            <pc:docMk/>
            <pc:sldMk cId="60143758" sldId="2147476144"/>
            <ac:spMk id="41" creationId="{3CA53124-D37A-8326-DB64-CFC81BDC0B11}"/>
          </ac:spMkLst>
        </pc:spChg>
        <pc:spChg chg="del">
          <ac:chgData name="Douglas Daniel Reinoso Peña" userId="60d62e81-f7d7-4b4c-92cc-63fb6a945bb4" providerId="ADAL" clId="{B815062A-1CE0-47B2-B6FA-D2837D2FEAA4}" dt="2024-11-20T12:34:07.804" v="6522" actId="478"/>
          <ac:spMkLst>
            <pc:docMk/>
            <pc:sldMk cId="60143758" sldId="2147476144"/>
            <ac:spMk id="42" creationId="{D5E34FF6-F1F5-F168-0A25-4BC71850AC3E}"/>
          </ac:spMkLst>
        </pc:spChg>
        <pc:spChg chg="mod">
          <ac:chgData name="Douglas Daniel Reinoso Peña" userId="60d62e81-f7d7-4b4c-92cc-63fb6a945bb4" providerId="ADAL" clId="{B815062A-1CE0-47B2-B6FA-D2837D2FEAA4}" dt="2024-11-20T14:26:26.332" v="6896" actId="2711"/>
          <ac:spMkLst>
            <pc:docMk/>
            <pc:sldMk cId="60143758" sldId="2147476144"/>
            <ac:spMk id="43" creationId="{3B5BE5BB-BB7A-C144-BE87-B9B93A7A8E85}"/>
          </ac:spMkLst>
        </pc:spChg>
        <pc:spChg chg="mod">
          <ac:chgData name="Douglas Daniel Reinoso Peña" userId="60d62e81-f7d7-4b4c-92cc-63fb6a945bb4" providerId="ADAL" clId="{B815062A-1CE0-47B2-B6FA-D2837D2FEAA4}" dt="2024-11-20T14:26:26.332" v="6896" actId="2711"/>
          <ac:spMkLst>
            <pc:docMk/>
            <pc:sldMk cId="60143758" sldId="2147476144"/>
            <ac:spMk id="44" creationId="{44E11007-FA56-6C6A-2CD4-19884C9E886F}"/>
          </ac:spMkLst>
        </pc:spChg>
        <pc:spChg chg="mod">
          <ac:chgData name="Douglas Daniel Reinoso Peña" userId="60d62e81-f7d7-4b4c-92cc-63fb6a945bb4" providerId="ADAL" clId="{B815062A-1CE0-47B2-B6FA-D2837D2FEAA4}" dt="2024-11-20T14:26:26.332" v="6896" actId="2711"/>
          <ac:spMkLst>
            <pc:docMk/>
            <pc:sldMk cId="60143758" sldId="2147476144"/>
            <ac:spMk id="46" creationId="{D016EDE0-55AD-B61A-9042-12390B05CB24}"/>
          </ac:spMkLst>
        </pc:spChg>
        <pc:spChg chg="mod">
          <ac:chgData name="Douglas Daniel Reinoso Peña" userId="60d62e81-f7d7-4b4c-92cc-63fb6a945bb4" providerId="ADAL" clId="{B815062A-1CE0-47B2-B6FA-D2837D2FEAA4}" dt="2024-11-20T14:26:26.332" v="6896" actId="2711"/>
          <ac:spMkLst>
            <pc:docMk/>
            <pc:sldMk cId="60143758" sldId="2147476144"/>
            <ac:spMk id="47" creationId="{B1C79FB8-E3FD-C869-BB70-E3DF29703E50}"/>
          </ac:spMkLst>
        </pc:spChg>
        <pc:spChg chg="mod">
          <ac:chgData name="Douglas Daniel Reinoso Peña" userId="60d62e81-f7d7-4b4c-92cc-63fb6a945bb4" providerId="ADAL" clId="{B815062A-1CE0-47B2-B6FA-D2837D2FEAA4}" dt="2024-11-20T14:26:26.332" v="6896" actId="2711"/>
          <ac:spMkLst>
            <pc:docMk/>
            <pc:sldMk cId="60143758" sldId="2147476144"/>
            <ac:spMk id="49" creationId="{9FC81DF7-A16B-11A6-7FC3-661FBDAC9B47}"/>
          </ac:spMkLst>
        </pc:spChg>
        <pc:spChg chg="mod">
          <ac:chgData name="Douglas Daniel Reinoso Peña" userId="60d62e81-f7d7-4b4c-92cc-63fb6a945bb4" providerId="ADAL" clId="{B815062A-1CE0-47B2-B6FA-D2837D2FEAA4}" dt="2024-11-20T14:26:26.332" v="6896" actId="2711"/>
          <ac:spMkLst>
            <pc:docMk/>
            <pc:sldMk cId="60143758" sldId="2147476144"/>
            <ac:spMk id="51" creationId="{2BC3DCCF-8DA4-39D4-2CE3-EAC2FAF30085}"/>
          </ac:spMkLst>
        </pc:spChg>
        <pc:spChg chg="del mod">
          <ac:chgData name="Douglas Daniel Reinoso Peña" userId="60d62e81-f7d7-4b4c-92cc-63fb6a945bb4" providerId="ADAL" clId="{B815062A-1CE0-47B2-B6FA-D2837D2FEAA4}" dt="2024-11-19T19:41:00.059" v="4901" actId="478"/>
          <ac:spMkLst>
            <pc:docMk/>
            <pc:sldMk cId="60143758" sldId="2147476144"/>
            <ac:spMk id="52" creationId="{8ADBAD0F-ADFC-72BE-1E33-BD9ECC671DCA}"/>
          </ac:spMkLst>
        </pc:spChg>
        <pc:spChg chg="mod">
          <ac:chgData name="Douglas Daniel Reinoso Peña" userId="60d62e81-f7d7-4b4c-92cc-63fb6a945bb4" providerId="ADAL" clId="{B815062A-1CE0-47B2-B6FA-D2837D2FEAA4}" dt="2024-11-20T14:26:26.332" v="6896" actId="2711"/>
          <ac:spMkLst>
            <pc:docMk/>
            <pc:sldMk cId="60143758" sldId="2147476144"/>
            <ac:spMk id="53" creationId="{31BDE3F7-6E1C-3728-680D-8E41E6229F40}"/>
          </ac:spMkLst>
        </pc:spChg>
        <pc:spChg chg="mod">
          <ac:chgData name="Douglas Daniel Reinoso Peña" userId="60d62e81-f7d7-4b4c-92cc-63fb6a945bb4" providerId="ADAL" clId="{B815062A-1CE0-47B2-B6FA-D2837D2FEAA4}" dt="2024-11-20T14:26:26.332" v="6896" actId="2711"/>
          <ac:spMkLst>
            <pc:docMk/>
            <pc:sldMk cId="60143758" sldId="2147476144"/>
            <ac:spMk id="54" creationId="{1FF3E49D-412D-B2AE-A8AE-ADCA6E30C642}"/>
          </ac:spMkLst>
        </pc:spChg>
        <pc:spChg chg="mod">
          <ac:chgData name="Douglas Daniel Reinoso Peña" userId="60d62e81-f7d7-4b4c-92cc-63fb6a945bb4" providerId="ADAL" clId="{B815062A-1CE0-47B2-B6FA-D2837D2FEAA4}" dt="2024-11-20T14:26:26.332" v="6896" actId="2711"/>
          <ac:spMkLst>
            <pc:docMk/>
            <pc:sldMk cId="60143758" sldId="2147476144"/>
            <ac:spMk id="56" creationId="{E3348008-DA19-F7CB-AF22-2688A62429F0}"/>
          </ac:spMkLst>
        </pc:spChg>
        <pc:spChg chg="mod">
          <ac:chgData name="Douglas Daniel Reinoso Peña" userId="60d62e81-f7d7-4b4c-92cc-63fb6a945bb4" providerId="ADAL" clId="{B815062A-1CE0-47B2-B6FA-D2837D2FEAA4}" dt="2024-11-20T14:26:26.332" v="6896" actId="2711"/>
          <ac:spMkLst>
            <pc:docMk/>
            <pc:sldMk cId="60143758" sldId="2147476144"/>
            <ac:spMk id="57" creationId="{80255373-BC83-E659-356F-B9D450A69080}"/>
          </ac:spMkLst>
        </pc:spChg>
        <pc:spChg chg="mod">
          <ac:chgData name="Douglas Daniel Reinoso Peña" userId="60d62e81-f7d7-4b4c-92cc-63fb6a945bb4" providerId="ADAL" clId="{B815062A-1CE0-47B2-B6FA-D2837D2FEAA4}" dt="2024-11-20T14:26:26.332" v="6896" actId="2711"/>
          <ac:spMkLst>
            <pc:docMk/>
            <pc:sldMk cId="60143758" sldId="2147476144"/>
            <ac:spMk id="61" creationId="{67E3CA88-8A59-0C5D-BA21-B1D0892B5DDB}"/>
          </ac:spMkLst>
        </pc:spChg>
        <pc:spChg chg="mod">
          <ac:chgData name="Douglas Daniel Reinoso Peña" userId="60d62e81-f7d7-4b4c-92cc-63fb6a945bb4" providerId="ADAL" clId="{B815062A-1CE0-47B2-B6FA-D2837D2FEAA4}" dt="2024-11-20T14:26:26.332" v="6896" actId="2711"/>
          <ac:spMkLst>
            <pc:docMk/>
            <pc:sldMk cId="60143758" sldId="2147476144"/>
            <ac:spMk id="62" creationId="{3E60A8DE-9F24-D3D4-5197-2B7EA2C063ED}"/>
          </ac:spMkLst>
        </pc:spChg>
        <pc:spChg chg="add del mod">
          <ac:chgData name="Douglas Daniel Reinoso Peña" userId="60d62e81-f7d7-4b4c-92cc-63fb6a945bb4" providerId="ADAL" clId="{B815062A-1CE0-47B2-B6FA-D2837D2FEAA4}" dt="2024-11-20T12:34:33.833" v="6536" actId="478"/>
          <ac:spMkLst>
            <pc:docMk/>
            <pc:sldMk cId="60143758" sldId="2147476144"/>
            <ac:spMk id="63" creationId="{7DB26181-71C3-245C-4519-9BDFD15B475A}"/>
          </ac:spMkLst>
        </pc:spChg>
        <pc:spChg chg="mod">
          <ac:chgData name="Douglas Daniel Reinoso Peña" userId="60d62e81-f7d7-4b4c-92cc-63fb6a945bb4" providerId="ADAL" clId="{B815062A-1CE0-47B2-B6FA-D2837D2FEAA4}" dt="2024-11-20T14:26:26.332" v="6896" actId="2711"/>
          <ac:spMkLst>
            <pc:docMk/>
            <pc:sldMk cId="60143758" sldId="2147476144"/>
            <ac:spMk id="64" creationId="{2F391352-A638-C2F6-FF84-F4F330D59016}"/>
          </ac:spMkLst>
        </pc:spChg>
        <pc:spChg chg="mod">
          <ac:chgData name="Douglas Daniel Reinoso Peña" userId="60d62e81-f7d7-4b4c-92cc-63fb6a945bb4" providerId="ADAL" clId="{B815062A-1CE0-47B2-B6FA-D2837D2FEAA4}" dt="2024-11-20T14:26:26.332" v="6896" actId="2711"/>
          <ac:spMkLst>
            <pc:docMk/>
            <pc:sldMk cId="60143758" sldId="2147476144"/>
            <ac:spMk id="65" creationId="{D29D627E-3D4A-1C6E-AB86-EBDFD4FF84B1}"/>
          </ac:spMkLst>
        </pc:spChg>
        <pc:spChg chg="del">
          <ac:chgData name="Douglas Daniel Reinoso Peña" userId="60d62e81-f7d7-4b4c-92cc-63fb6a945bb4" providerId="ADAL" clId="{B815062A-1CE0-47B2-B6FA-D2837D2FEAA4}" dt="2024-11-20T12:33:56.909" v="6519" actId="478"/>
          <ac:spMkLst>
            <pc:docMk/>
            <pc:sldMk cId="60143758" sldId="2147476144"/>
            <ac:spMk id="68" creationId="{CBFB7554-B00C-E22F-2823-299357D46C5A}"/>
          </ac:spMkLst>
        </pc:spChg>
        <pc:spChg chg="del">
          <ac:chgData name="Douglas Daniel Reinoso Peña" userId="60d62e81-f7d7-4b4c-92cc-63fb6a945bb4" providerId="ADAL" clId="{B815062A-1CE0-47B2-B6FA-D2837D2FEAA4}" dt="2024-11-19T19:40:04.040" v="4895" actId="478"/>
          <ac:spMkLst>
            <pc:docMk/>
            <pc:sldMk cId="60143758" sldId="2147476144"/>
            <ac:spMk id="70" creationId="{7B674237-D01C-5A22-2001-9647E71E7DEC}"/>
          </ac:spMkLst>
        </pc:spChg>
        <pc:spChg chg="del">
          <ac:chgData name="Douglas Daniel Reinoso Peña" userId="60d62e81-f7d7-4b4c-92cc-63fb6a945bb4" providerId="ADAL" clId="{B815062A-1CE0-47B2-B6FA-D2837D2FEAA4}" dt="2024-11-20T12:32:48.442" v="6516" actId="478"/>
          <ac:spMkLst>
            <pc:docMk/>
            <pc:sldMk cId="60143758" sldId="2147476144"/>
            <ac:spMk id="71" creationId="{D27E0D4F-5914-2EEA-B41E-B9B80F2951B0}"/>
          </ac:spMkLst>
        </pc:spChg>
        <pc:spChg chg="del">
          <ac:chgData name="Douglas Daniel Reinoso Peña" userId="60d62e81-f7d7-4b4c-92cc-63fb6a945bb4" providerId="ADAL" clId="{B815062A-1CE0-47B2-B6FA-D2837D2FEAA4}" dt="2024-11-20T12:32:37.803" v="6515" actId="478"/>
          <ac:spMkLst>
            <pc:docMk/>
            <pc:sldMk cId="60143758" sldId="2147476144"/>
            <ac:spMk id="72" creationId="{2003806F-1EFD-3347-2A25-B502DEC2B6EF}"/>
          </ac:spMkLst>
        </pc:spChg>
        <pc:spChg chg="mod">
          <ac:chgData name="Douglas Daniel Reinoso Peña" userId="60d62e81-f7d7-4b4c-92cc-63fb6a945bb4" providerId="ADAL" clId="{B815062A-1CE0-47B2-B6FA-D2837D2FEAA4}" dt="2024-11-20T14:26:26.332" v="6896" actId="2711"/>
          <ac:spMkLst>
            <pc:docMk/>
            <pc:sldMk cId="60143758" sldId="2147476144"/>
            <ac:spMk id="73" creationId="{1E72EB33-2AFA-44DD-FEAE-21CF0EE6C166}"/>
          </ac:spMkLst>
        </pc:spChg>
        <pc:spChg chg="mod">
          <ac:chgData name="Douglas Daniel Reinoso Peña" userId="60d62e81-f7d7-4b4c-92cc-63fb6a945bb4" providerId="ADAL" clId="{B815062A-1CE0-47B2-B6FA-D2837D2FEAA4}" dt="2024-11-20T14:26:26.332" v="6896" actId="2711"/>
          <ac:spMkLst>
            <pc:docMk/>
            <pc:sldMk cId="60143758" sldId="2147476144"/>
            <ac:spMk id="76" creationId="{26449C70-3DCD-097F-1617-5B25E49B88A6}"/>
          </ac:spMkLst>
        </pc:spChg>
        <pc:spChg chg="mod">
          <ac:chgData name="Douglas Daniel Reinoso Peña" userId="60d62e81-f7d7-4b4c-92cc-63fb6a945bb4" providerId="ADAL" clId="{B815062A-1CE0-47B2-B6FA-D2837D2FEAA4}" dt="2024-11-20T14:26:26.332" v="6896" actId="2711"/>
          <ac:spMkLst>
            <pc:docMk/>
            <pc:sldMk cId="60143758" sldId="2147476144"/>
            <ac:spMk id="77" creationId="{9C027FEF-A6FC-3440-1F54-0EC51567B581}"/>
          </ac:spMkLst>
        </pc:spChg>
        <pc:spChg chg="del">
          <ac:chgData name="Douglas Daniel Reinoso Peña" userId="60d62e81-f7d7-4b4c-92cc-63fb6a945bb4" providerId="ADAL" clId="{B815062A-1CE0-47B2-B6FA-D2837D2FEAA4}" dt="2024-11-20T12:32:48.442" v="6516" actId="478"/>
          <ac:spMkLst>
            <pc:docMk/>
            <pc:sldMk cId="60143758" sldId="2147476144"/>
            <ac:spMk id="81" creationId="{83FA8A95-BBEE-FF17-9FE8-35EAD3457A20}"/>
          </ac:spMkLst>
        </pc:spChg>
        <pc:spChg chg="mod">
          <ac:chgData name="Douglas Daniel Reinoso Peña" userId="60d62e81-f7d7-4b4c-92cc-63fb6a945bb4" providerId="ADAL" clId="{B815062A-1CE0-47B2-B6FA-D2837D2FEAA4}" dt="2024-11-20T14:26:26.332" v="6896" actId="2711"/>
          <ac:spMkLst>
            <pc:docMk/>
            <pc:sldMk cId="60143758" sldId="2147476144"/>
            <ac:spMk id="82" creationId="{BA2CC1EE-4FB2-6097-761D-42CF8E364751}"/>
          </ac:spMkLst>
        </pc:spChg>
        <pc:spChg chg="del">
          <ac:chgData name="Douglas Daniel Reinoso Peña" userId="60d62e81-f7d7-4b4c-92cc-63fb6a945bb4" providerId="ADAL" clId="{B815062A-1CE0-47B2-B6FA-D2837D2FEAA4}" dt="2024-11-20T12:35:37.344" v="6580" actId="478"/>
          <ac:spMkLst>
            <pc:docMk/>
            <pc:sldMk cId="60143758" sldId="2147476144"/>
            <ac:spMk id="83" creationId="{9A846EB5-55E0-AE9B-797D-7378AD404320}"/>
          </ac:spMkLst>
        </pc:spChg>
        <pc:spChg chg="mod">
          <ac:chgData name="Douglas Daniel Reinoso Peña" userId="60d62e81-f7d7-4b4c-92cc-63fb6a945bb4" providerId="ADAL" clId="{B815062A-1CE0-47B2-B6FA-D2837D2FEAA4}" dt="2024-11-20T14:26:26.332" v="6896" actId="2711"/>
          <ac:spMkLst>
            <pc:docMk/>
            <pc:sldMk cId="60143758" sldId="2147476144"/>
            <ac:spMk id="84" creationId="{1DD8A125-4314-F48B-1751-35914ED76727}"/>
          </ac:spMkLst>
        </pc:spChg>
        <pc:spChg chg="del">
          <ac:chgData name="Douglas Daniel Reinoso Peña" userId="60d62e81-f7d7-4b4c-92cc-63fb6a945bb4" providerId="ADAL" clId="{B815062A-1CE0-47B2-B6FA-D2837D2FEAA4}" dt="2024-11-20T12:32:48.442" v="6516" actId="478"/>
          <ac:spMkLst>
            <pc:docMk/>
            <pc:sldMk cId="60143758" sldId="2147476144"/>
            <ac:spMk id="85" creationId="{116000C9-C462-153B-59CE-5EE8D33D6E6A}"/>
          </ac:spMkLst>
        </pc:spChg>
        <pc:spChg chg="del">
          <ac:chgData name="Douglas Daniel Reinoso Peña" userId="60d62e81-f7d7-4b4c-92cc-63fb6a945bb4" providerId="ADAL" clId="{B815062A-1CE0-47B2-B6FA-D2837D2FEAA4}" dt="2024-11-20T12:32:37.803" v="6515" actId="478"/>
          <ac:spMkLst>
            <pc:docMk/>
            <pc:sldMk cId="60143758" sldId="2147476144"/>
            <ac:spMk id="86" creationId="{A5325B76-43F7-6E77-634D-08A90D280370}"/>
          </ac:spMkLst>
        </pc:spChg>
        <pc:spChg chg="mod">
          <ac:chgData name="Douglas Daniel Reinoso Peña" userId="60d62e81-f7d7-4b4c-92cc-63fb6a945bb4" providerId="ADAL" clId="{B815062A-1CE0-47B2-B6FA-D2837D2FEAA4}" dt="2024-11-20T14:26:26.332" v="6896" actId="2711"/>
          <ac:spMkLst>
            <pc:docMk/>
            <pc:sldMk cId="60143758" sldId="2147476144"/>
            <ac:spMk id="87" creationId="{2B5D60CE-B0B0-6103-9788-7B02335F4F10}"/>
          </ac:spMkLst>
        </pc:spChg>
        <pc:spChg chg="mod">
          <ac:chgData name="Douglas Daniel Reinoso Peña" userId="60d62e81-f7d7-4b4c-92cc-63fb6a945bb4" providerId="ADAL" clId="{B815062A-1CE0-47B2-B6FA-D2837D2FEAA4}" dt="2024-11-20T14:26:26.332" v="6896" actId="2711"/>
          <ac:spMkLst>
            <pc:docMk/>
            <pc:sldMk cId="60143758" sldId="2147476144"/>
            <ac:spMk id="88" creationId="{9E3BFF71-C06B-1530-1C51-DB12A913F12F}"/>
          </ac:spMkLst>
        </pc:spChg>
        <pc:spChg chg="mod">
          <ac:chgData name="Douglas Daniel Reinoso Peña" userId="60d62e81-f7d7-4b4c-92cc-63fb6a945bb4" providerId="ADAL" clId="{B815062A-1CE0-47B2-B6FA-D2837D2FEAA4}" dt="2024-11-20T14:26:26.332" v="6896" actId="2711"/>
          <ac:spMkLst>
            <pc:docMk/>
            <pc:sldMk cId="60143758" sldId="2147476144"/>
            <ac:spMk id="89" creationId="{1AEAFEE6-57AD-8F60-4BD8-433B6DD23F6F}"/>
          </ac:spMkLst>
        </pc:spChg>
        <pc:spChg chg="del">
          <ac:chgData name="Douglas Daniel Reinoso Peña" userId="60d62e81-f7d7-4b4c-92cc-63fb6a945bb4" providerId="ADAL" clId="{B815062A-1CE0-47B2-B6FA-D2837D2FEAA4}" dt="2024-11-20T12:32:48.442" v="6516" actId="478"/>
          <ac:spMkLst>
            <pc:docMk/>
            <pc:sldMk cId="60143758" sldId="2147476144"/>
            <ac:spMk id="90" creationId="{35171E33-28E1-33AD-D2D6-671CC295D661}"/>
          </ac:spMkLst>
        </pc:spChg>
        <pc:spChg chg="del">
          <ac:chgData name="Douglas Daniel Reinoso Peña" userId="60d62e81-f7d7-4b4c-92cc-63fb6a945bb4" providerId="ADAL" clId="{B815062A-1CE0-47B2-B6FA-D2837D2FEAA4}" dt="2024-11-20T12:34:08.872" v="6523" actId="478"/>
          <ac:spMkLst>
            <pc:docMk/>
            <pc:sldMk cId="60143758" sldId="2147476144"/>
            <ac:spMk id="91" creationId="{01FE02A2-2621-A7CF-FEFF-6156CF25EB47}"/>
          </ac:spMkLst>
        </pc:spChg>
        <pc:spChg chg="del">
          <ac:chgData name="Douglas Daniel Reinoso Peña" userId="60d62e81-f7d7-4b4c-92cc-63fb6a945bb4" providerId="ADAL" clId="{B815062A-1CE0-47B2-B6FA-D2837D2FEAA4}" dt="2024-11-20T12:32:37.803" v="6515" actId="478"/>
          <ac:spMkLst>
            <pc:docMk/>
            <pc:sldMk cId="60143758" sldId="2147476144"/>
            <ac:spMk id="92" creationId="{8CA00FA8-8A63-0B5F-DFBE-0B6693366883}"/>
          </ac:spMkLst>
        </pc:spChg>
        <pc:spChg chg="mod">
          <ac:chgData name="Douglas Daniel Reinoso Peña" userId="60d62e81-f7d7-4b4c-92cc-63fb6a945bb4" providerId="ADAL" clId="{B815062A-1CE0-47B2-B6FA-D2837D2FEAA4}" dt="2024-11-20T14:26:26.332" v="6896" actId="2711"/>
          <ac:spMkLst>
            <pc:docMk/>
            <pc:sldMk cId="60143758" sldId="2147476144"/>
            <ac:spMk id="93" creationId="{1DC5B59F-751B-2014-24D9-FE77E03F2F7D}"/>
          </ac:spMkLst>
        </pc:spChg>
        <pc:spChg chg="del">
          <ac:chgData name="Douglas Daniel Reinoso Peña" userId="60d62e81-f7d7-4b4c-92cc-63fb6a945bb4" providerId="ADAL" clId="{B815062A-1CE0-47B2-B6FA-D2837D2FEAA4}" dt="2024-11-20T12:32:37.803" v="6515" actId="478"/>
          <ac:spMkLst>
            <pc:docMk/>
            <pc:sldMk cId="60143758" sldId="2147476144"/>
            <ac:spMk id="94" creationId="{0A64B93B-50E8-5B53-5E1E-191CE908A38B}"/>
          </ac:spMkLst>
        </pc:spChg>
        <pc:spChg chg="mod">
          <ac:chgData name="Douglas Daniel Reinoso Peña" userId="60d62e81-f7d7-4b4c-92cc-63fb6a945bb4" providerId="ADAL" clId="{B815062A-1CE0-47B2-B6FA-D2837D2FEAA4}" dt="2024-11-20T14:26:26.332" v="6896" actId="2711"/>
          <ac:spMkLst>
            <pc:docMk/>
            <pc:sldMk cId="60143758" sldId="2147476144"/>
            <ac:spMk id="95" creationId="{61B6EDC7-40FF-17DD-F0CC-2852F54275A0}"/>
          </ac:spMkLst>
        </pc:spChg>
        <pc:spChg chg="mod">
          <ac:chgData name="Douglas Daniel Reinoso Peña" userId="60d62e81-f7d7-4b4c-92cc-63fb6a945bb4" providerId="ADAL" clId="{B815062A-1CE0-47B2-B6FA-D2837D2FEAA4}" dt="2024-11-20T14:26:26.332" v="6896" actId="2711"/>
          <ac:spMkLst>
            <pc:docMk/>
            <pc:sldMk cId="60143758" sldId="2147476144"/>
            <ac:spMk id="100" creationId="{A85EC850-5A61-8369-BE72-849EEE1850D8}"/>
          </ac:spMkLst>
        </pc:spChg>
        <pc:spChg chg="del">
          <ac:chgData name="Douglas Daniel Reinoso Peña" userId="60d62e81-f7d7-4b4c-92cc-63fb6a945bb4" providerId="ADAL" clId="{B815062A-1CE0-47B2-B6FA-D2837D2FEAA4}" dt="2024-11-20T12:34:45.219" v="6540" actId="478"/>
          <ac:spMkLst>
            <pc:docMk/>
            <pc:sldMk cId="60143758" sldId="2147476144"/>
            <ac:spMk id="101" creationId="{28477F99-7623-F43B-8AE3-85CFD15EF01E}"/>
          </ac:spMkLst>
        </pc:spChg>
        <pc:spChg chg="del">
          <ac:chgData name="Douglas Daniel Reinoso Peña" userId="60d62e81-f7d7-4b4c-92cc-63fb6a945bb4" providerId="ADAL" clId="{B815062A-1CE0-47B2-B6FA-D2837D2FEAA4}" dt="2024-11-20T12:34:42.729" v="6539" actId="478"/>
          <ac:spMkLst>
            <pc:docMk/>
            <pc:sldMk cId="60143758" sldId="2147476144"/>
            <ac:spMk id="104" creationId="{0974D7DA-A8CC-5674-0CA9-2D2760472B0C}"/>
          </ac:spMkLst>
        </pc:spChg>
        <pc:spChg chg="del">
          <ac:chgData name="Douglas Daniel Reinoso Peña" userId="60d62e81-f7d7-4b4c-92cc-63fb6a945bb4" providerId="ADAL" clId="{B815062A-1CE0-47B2-B6FA-D2837D2FEAA4}" dt="2024-11-20T12:32:48.442" v="6516" actId="478"/>
          <ac:spMkLst>
            <pc:docMk/>
            <pc:sldMk cId="60143758" sldId="2147476144"/>
            <ac:spMk id="107" creationId="{C5B4FDBE-EAD8-40E3-AF12-75188E7CBF37}"/>
          </ac:spMkLst>
        </pc:spChg>
        <pc:spChg chg="del mod">
          <ac:chgData name="Douglas Daniel Reinoso Peña" userId="60d62e81-f7d7-4b4c-92cc-63fb6a945bb4" providerId="ADAL" clId="{B815062A-1CE0-47B2-B6FA-D2837D2FEAA4}" dt="2024-11-20T14:25:36.071" v="6894" actId="478"/>
          <ac:spMkLst>
            <pc:docMk/>
            <pc:sldMk cId="60143758" sldId="2147476144"/>
            <ac:spMk id="108" creationId="{AA72D19E-747D-FE8B-32E8-890145791388}"/>
          </ac:spMkLst>
        </pc:spChg>
        <pc:spChg chg="del">
          <ac:chgData name="Douglas Daniel Reinoso Peña" userId="60d62e81-f7d7-4b4c-92cc-63fb6a945bb4" providerId="ADAL" clId="{B815062A-1CE0-47B2-B6FA-D2837D2FEAA4}" dt="2024-11-20T12:33:59.409" v="6521" actId="478"/>
          <ac:spMkLst>
            <pc:docMk/>
            <pc:sldMk cId="60143758" sldId="2147476144"/>
            <ac:spMk id="109" creationId="{8E5CBD0D-7773-976F-462B-80BABF1E1535}"/>
          </ac:spMkLst>
        </pc:spChg>
        <pc:spChg chg="mod">
          <ac:chgData name="Douglas Daniel Reinoso Peña" userId="60d62e81-f7d7-4b4c-92cc-63fb6a945bb4" providerId="ADAL" clId="{B815062A-1CE0-47B2-B6FA-D2837D2FEAA4}" dt="2024-11-20T14:26:26.332" v="6896" actId="2711"/>
          <ac:spMkLst>
            <pc:docMk/>
            <pc:sldMk cId="60143758" sldId="2147476144"/>
            <ac:spMk id="110" creationId="{C06F59B2-D0B1-C4EC-F8F8-23550D8B011A}"/>
          </ac:spMkLst>
        </pc:spChg>
        <pc:spChg chg="del mod">
          <ac:chgData name="Douglas Daniel Reinoso Peña" userId="60d62e81-f7d7-4b4c-92cc-63fb6a945bb4" providerId="ADAL" clId="{B815062A-1CE0-47B2-B6FA-D2837D2FEAA4}" dt="2024-11-20T12:35:10.545" v="6546" actId="478"/>
          <ac:spMkLst>
            <pc:docMk/>
            <pc:sldMk cId="60143758" sldId="2147476144"/>
            <ac:spMk id="111" creationId="{DA1C39B6-3DF2-0853-D221-90B9763F28C1}"/>
          </ac:spMkLst>
        </pc:spChg>
        <pc:spChg chg="del">
          <ac:chgData name="Douglas Daniel Reinoso Peña" userId="60d62e81-f7d7-4b4c-92cc-63fb6a945bb4" providerId="ADAL" clId="{B815062A-1CE0-47B2-B6FA-D2837D2FEAA4}" dt="2024-11-20T12:33:58.121" v="6520" actId="478"/>
          <ac:spMkLst>
            <pc:docMk/>
            <pc:sldMk cId="60143758" sldId="2147476144"/>
            <ac:spMk id="113" creationId="{0C43DDC1-2091-A2AB-06A8-99CEFBC91413}"/>
          </ac:spMkLst>
        </pc:spChg>
        <pc:spChg chg="del">
          <ac:chgData name="Douglas Daniel Reinoso Peña" userId="60d62e81-f7d7-4b4c-92cc-63fb6a945bb4" providerId="ADAL" clId="{B815062A-1CE0-47B2-B6FA-D2837D2FEAA4}" dt="2024-11-20T14:25:33.473" v="6893" actId="478"/>
          <ac:spMkLst>
            <pc:docMk/>
            <pc:sldMk cId="60143758" sldId="2147476144"/>
            <ac:spMk id="114" creationId="{51BF255D-967C-3D11-AFCD-F535EE71481D}"/>
          </ac:spMkLst>
        </pc:spChg>
        <pc:spChg chg="del">
          <ac:chgData name="Douglas Daniel Reinoso Peña" userId="60d62e81-f7d7-4b4c-92cc-63fb6a945bb4" providerId="ADAL" clId="{B815062A-1CE0-47B2-B6FA-D2837D2FEAA4}" dt="2024-11-20T12:32:37.803" v="6515" actId="478"/>
          <ac:spMkLst>
            <pc:docMk/>
            <pc:sldMk cId="60143758" sldId="2147476144"/>
            <ac:spMk id="115" creationId="{46903C51-7382-AECB-2070-83BF52BF146C}"/>
          </ac:spMkLst>
        </pc:spChg>
        <pc:spChg chg="del">
          <ac:chgData name="Douglas Daniel Reinoso Peña" userId="60d62e81-f7d7-4b4c-92cc-63fb6a945bb4" providerId="ADAL" clId="{B815062A-1CE0-47B2-B6FA-D2837D2FEAA4}" dt="2024-11-20T12:32:48.442" v="6516" actId="478"/>
          <ac:spMkLst>
            <pc:docMk/>
            <pc:sldMk cId="60143758" sldId="2147476144"/>
            <ac:spMk id="116" creationId="{8B6E1CE5-CC33-08BE-608D-7B7F1F755645}"/>
          </ac:spMkLst>
        </pc:spChg>
        <pc:spChg chg="del">
          <ac:chgData name="Douglas Daniel Reinoso Peña" userId="60d62e81-f7d7-4b4c-92cc-63fb6a945bb4" providerId="ADAL" clId="{B815062A-1CE0-47B2-B6FA-D2837D2FEAA4}" dt="2024-11-20T12:32:37.803" v="6515" actId="478"/>
          <ac:spMkLst>
            <pc:docMk/>
            <pc:sldMk cId="60143758" sldId="2147476144"/>
            <ac:spMk id="117" creationId="{D3E8EC91-29DD-5195-F240-3C856E65483B}"/>
          </ac:spMkLst>
        </pc:spChg>
        <pc:spChg chg="del">
          <ac:chgData name="Douglas Daniel Reinoso Peña" userId="60d62e81-f7d7-4b4c-92cc-63fb6a945bb4" providerId="ADAL" clId="{B815062A-1CE0-47B2-B6FA-D2837D2FEAA4}" dt="2024-11-20T12:32:48.442" v="6516" actId="478"/>
          <ac:spMkLst>
            <pc:docMk/>
            <pc:sldMk cId="60143758" sldId="2147476144"/>
            <ac:spMk id="118" creationId="{C1C677CE-BBEE-8C9C-C212-2DA861076F41}"/>
          </ac:spMkLst>
        </pc:spChg>
        <pc:spChg chg="del">
          <ac:chgData name="Douglas Daniel Reinoso Peña" userId="60d62e81-f7d7-4b4c-92cc-63fb6a945bb4" providerId="ADAL" clId="{B815062A-1CE0-47B2-B6FA-D2837D2FEAA4}" dt="2024-11-20T12:32:37.803" v="6515" actId="478"/>
          <ac:spMkLst>
            <pc:docMk/>
            <pc:sldMk cId="60143758" sldId="2147476144"/>
            <ac:spMk id="119" creationId="{3C73B53D-92CE-E31C-E3DC-272A7AE7AB46}"/>
          </ac:spMkLst>
        </pc:spChg>
        <pc:spChg chg="del">
          <ac:chgData name="Douglas Daniel Reinoso Peña" userId="60d62e81-f7d7-4b4c-92cc-63fb6a945bb4" providerId="ADAL" clId="{B815062A-1CE0-47B2-B6FA-D2837D2FEAA4}" dt="2024-11-20T12:33:56.909" v="6519" actId="478"/>
          <ac:spMkLst>
            <pc:docMk/>
            <pc:sldMk cId="60143758" sldId="2147476144"/>
            <ac:spMk id="120" creationId="{912947EE-020C-006B-D508-20DB62824099}"/>
          </ac:spMkLst>
        </pc:spChg>
        <pc:spChg chg="mod">
          <ac:chgData name="Douglas Daniel Reinoso Peña" userId="60d62e81-f7d7-4b4c-92cc-63fb6a945bb4" providerId="ADAL" clId="{B815062A-1CE0-47B2-B6FA-D2837D2FEAA4}" dt="2024-11-20T14:26:26.332" v="6896" actId="2711"/>
          <ac:spMkLst>
            <pc:docMk/>
            <pc:sldMk cId="60143758" sldId="2147476144"/>
            <ac:spMk id="121" creationId="{23031B24-BB40-9077-803B-2E9D793BFE27}"/>
          </ac:spMkLst>
        </pc:spChg>
        <pc:spChg chg="mod">
          <ac:chgData name="Douglas Daniel Reinoso Peña" userId="60d62e81-f7d7-4b4c-92cc-63fb6a945bb4" providerId="ADAL" clId="{B815062A-1CE0-47B2-B6FA-D2837D2FEAA4}" dt="2024-11-20T14:26:26.332" v="6896" actId="2711"/>
          <ac:spMkLst>
            <pc:docMk/>
            <pc:sldMk cId="60143758" sldId="2147476144"/>
            <ac:spMk id="124" creationId="{7CA2BE96-DC5E-F843-8452-1F84C943AF3E}"/>
          </ac:spMkLst>
        </pc:spChg>
        <pc:spChg chg="mod">
          <ac:chgData name="Douglas Daniel Reinoso Peña" userId="60d62e81-f7d7-4b4c-92cc-63fb6a945bb4" providerId="ADAL" clId="{B815062A-1CE0-47B2-B6FA-D2837D2FEAA4}" dt="2024-11-20T14:26:26.332" v="6896" actId="2711"/>
          <ac:spMkLst>
            <pc:docMk/>
            <pc:sldMk cId="60143758" sldId="2147476144"/>
            <ac:spMk id="125" creationId="{E5C0F428-821C-5F58-61B9-8FD19B910EC7}"/>
          </ac:spMkLst>
        </pc:spChg>
        <pc:spChg chg="mod">
          <ac:chgData name="Douglas Daniel Reinoso Peña" userId="60d62e81-f7d7-4b4c-92cc-63fb6a945bb4" providerId="ADAL" clId="{B815062A-1CE0-47B2-B6FA-D2837D2FEAA4}" dt="2024-11-20T14:26:26.332" v="6896" actId="2711"/>
          <ac:spMkLst>
            <pc:docMk/>
            <pc:sldMk cId="60143758" sldId="2147476144"/>
            <ac:spMk id="126" creationId="{79F78127-D252-4B13-29E5-57A44A6493D0}"/>
          </ac:spMkLst>
        </pc:spChg>
        <pc:spChg chg="mod">
          <ac:chgData name="Douglas Daniel Reinoso Peña" userId="60d62e81-f7d7-4b4c-92cc-63fb6a945bb4" providerId="ADAL" clId="{B815062A-1CE0-47B2-B6FA-D2837D2FEAA4}" dt="2024-11-20T14:26:26.332" v="6896" actId="2711"/>
          <ac:spMkLst>
            <pc:docMk/>
            <pc:sldMk cId="60143758" sldId="2147476144"/>
            <ac:spMk id="127" creationId="{CABF04F2-3C9A-6845-E078-39A08439F805}"/>
          </ac:spMkLst>
        </pc:spChg>
        <pc:spChg chg="mod">
          <ac:chgData name="Douglas Daniel Reinoso Peña" userId="60d62e81-f7d7-4b4c-92cc-63fb6a945bb4" providerId="ADAL" clId="{B815062A-1CE0-47B2-B6FA-D2837D2FEAA4}" dt="2024-11-20T14:26:26.332" v="6896" actId="2711"/>
          <ac:spMkLst>
            <pc:docMk/>
            <pc:sldMk cId="60143758" sldId="2147476144"/>
            <ac:spMk id="128" creationId="{F5A84636-C790-C4F4-133C-DC9720D72EC7}"/>
          </ac:spMkLst>
        </pc:spChg>
        <pc:spChg chg="mod">
          <ac:chgData name="Douglas Daniel Reinoso Peña" userId="60d62e81-f7d7-4b4c-92cc-63fb6a945bb4" providerId="ADAL" clId="{B815062A-1CE0-47B2-B6FA-D2837D2FEAA4}" dt="2024-11-20T14:26:26.332" v="6896" actId="2711"/>
          <ac:spMkLst>
            <pc:docMk/>
            <pc:sldMk cId="60143758" sldId="2147476144"/>
            <ac:spMk id="131" creationId="{D1D24A43-6286-A45A-0962-246B8CE618D1}"/>
          </ac:spMkLst>
        </pc:spChg>
        <pc:spChg chg="mod">
          <ac:chgData name="Douglas Daniel Reinoso Peña" userId="60d62e81-f7d7-4b4c-92cc-63fb6a945bb4" providerId="ADAL" clId="{B815062A-1CE0-47B2-B6FA-D2837D2FEAA4}" dt="2024-11-20T14:26:26.332" v="6896" actId="2711"/>
          <ac:spMkLst>
            <pc:docMk/>
            <pc:sldMk cId="60143758" sldId="2147476144"/>
            <ac:spMk id="133" creationId="{0A17B0F7-A9EC-185B-9334-FDC1B8229900}"/>
          </ac:spMkLst>
        </pc:spChg>
        <pc:spChg chg="mod">
          <ac:chgData name="Douglas Daniel Reinoso Peña" userId="60d62e81-f7d7-4b4c-92cc-63fb6a945bb4" providerId="ADAL" clId="{B815062A-1CE0-47B2-B6FA-D2837D2FEAA4}" dt="2024-11-20T14:26:26.332" v="6896" actId="2711"/>
          <ac:spMkLst>
            <pc:docMk/>
            <pc:sldMk cId="60143758" sldId="2147476144"/>
            <ac:spMk id="139" creationId="{BA5C5D13-D74A-0F80-600A-D79BD8402008}"/>
          </ac:spMkLst>
        </pc:spChg>
        <pc:spChg chg="mod">
          <ac:chgData name="Douglas Daniel Reinoso Peña" userId="60d62e81-f7d7-4b4c-92cc-63fb6a945bb4" providerId="ADAL" clId="{B815062A-1CE0-47B2-B6FA-D2837D2FEAA4}" dt="2024-11-20T14:26:26.332" v="6896" actId="2711"/>
          <ac:spMkLst>
            <pc:docMk/>
            <pc:sldMk cId="60143758" sldId="2147476144"/>
            <ac:spMk id="140" creationId="{26B91283-F213-5E79-5D11-C55827C9C075}"/>
          </ac:spMkLst>
        </pc:spChg>
        <pc:spChg chg="mod">
          <ac:chgData name="Douglas Daniel Reinoso Peña" userId="60d62e81-f7d7-4b4c-92cc-63fb6a945bb4" providerId="ADAL" clId="{B815062A-1CE0-47B2-B6FA-D2837D2FEAA4}" dt="2024-11-20T14:26:26.332" v="6896" actId="2711"/>
          <ac:spMkLst>
            <pc:docMk/>
            <pc:sldMk cId="60143758" sldId="2147476144"/>
            <ac:spMk id="141" creationId="{83566449-7037-4EEC-58B9-317F8AB16880}"/>
          </ac:spMkLst>
        </pc:spChg>
        <pc:spChg chg="mod">
          <ac:chgData name="Douglas Daniel Reinoso Peña" userId="60d62e81-f7d7-4b4c-92cc-63fb6a945bb4" providerId="ADAL" clId="{B815062A-1CE0-47B2-B6FA-D2837D2FEAA4}" dt="2024-11-20T14:26:26.332" v="6896" actId="2711"/>
          <ac:spMkLst>
            <pc:docMk/>
            <pc:sldMk cId="60143758" sldId="2147476144"/>
            <ac:spMk id="143" creationId="{58BE130C-8649-12A3-FBD0-468E99521E17}"/>
          </ac:spMkLst>
        </pc:spChg>
        <pc:spChg chg="mod">
          <ac:chgData name="Douglas Daniel Reinoso Peña" userId="60d62e81-f7d7-4b4c-92cc-63fb6a945bb4" providerId="ADAL" clId="{B815062A-1CE0-47B2-B6FA-D2837D2FEAA4}" dt="2024-11-20T14:26:26.332" v="6896" actId="2711"/>
          <ac:spMkLst>
            <pc:docMk/>
            <pc:sldMk cId="60143758" sldId="2147476144"/>
            <ac:spMk id="144" creationId="{A4FBCEA6-083D-785F-AF3D-3C7B6CCCA145}"/>
          </ac:spMkLst>
        </pc:spChg>
        <pc:spChg chg="mod">
          <ac:chgData name="Douglas Daniel Reinoso Peña" userId="60d62e81-f7d7-4b4c-92cc-63fb6a945bb4" providerId="ADAL" clId="{B815062A-1CE0-47B2-B6FA-D2837D2FEAA4}" dt="2024-11-20T14:26:26.332" v="6896" actId="2711"/>
          <ac:spMkLst>
            <pc:docMk/>
            <pc:sldMk cId="60143758" sldId="2147476144"/>
            <ac:spMk id="145" creationId="{19A86F5A-F6F7-A63B-E502-5BF9177CC489}"/>
          </ac:spMkLst>
        </pc:spChg>
        <pc:spChg chg="del">
          <ac:chgData name="Douglas Daniel Reinoso Peña" userId="60d62e81-f7d7-4b4c-92cc-63fb6a945bb4" providerId="ADAL" clId="{B815062A-1CE0-47B2-B6FA-D2837D2FEAA4}" dt="2024-11-20T12:34:51.481" v="6543" actId="478"/>
          <ac:spMkLst>
            <pc:docMk/>
            <pc:sldMk cId="60143758" sldId="2147476144"/>
            <ac:spMk id="147" creationId="{C2138420-E81D-AF6F-1EB3-15590DD4016E}"/>
          </ac:spMkLst>
        </pc:spChg>
        <pc:spChg chg="del">
          <ac:chgData name="Douglas Daniel Reinoso Peña" userId="60d62e81-f7d7-4b4c-92cc-63fb6a945bb4" providerId="ADAL" clId="{B815062A-1CE0-47B2-B6FA-D2837D2FEAA4}" dt="2024-11-20T12:34:53.057" v="6544" actId="478"/>
          <ac:spMkLst>
            <pc:docMk/>
            <pc:sldMk cId="60143758" sldId="2147476144"/>
            <ac:spMk id="148" creationId="{C766F35E-C295-6EB8-A449-905F8B49F633}"/>
          </ac:spMkLst>
        </pc:spChg>
        <pc:spChg chg="del">
          <ac:chgData name="Douglas Daniel Reinoso Peña" userId="60d62e81-f7d7-4b4c-92cc-63fb6a945bb4" providerId="ADAL" clId="{B815062A-1CE0-47B2-B6FA-D2837D2FEAA4}" dt="2024-11-20T12:34:48.961" v="6542" actId="478"/>
          <ac:spMkLst>
            <pc:docMk/>
            <pc:sldMk cId="60143758" sldId="2147476144"/>
            <ac:spMk id="155" creationId="{55081811-FD64-90B5-5DCF-D42E2DD64897}"/>
          </ac:spMkLst>
        </pc:spChg>
        <pc:spChg chg="del">
          <ac:chgData name="Douglas Daniel Reinoso Peña" userId="60d62e81-f7d7-4b4c-92cc-63fb6a945bb4" providerId="ADAL" clId="{B815062A-1CE0-47B2-B6FA-D2837D2FEAA4}" dt="2024-11-20T12:34:47.427" v="6541" actId="478"/>
          <ac:spMkLst>
            <pc:docMk/>
            <pc:sldMk cId="60143758" sldId="2147476144"/>
            <ac:spMk id="156" creationId="{8535AE1E-2B81-5DBD-5D01-C23F7275039C}"/>
          </ac:spMkLst>
        </pc:spChg>
        <pc:spChg chg="del">
          <ac:chgData name="Douglas Daniel Reinoso Peña" userId="60d62e81-f7d7-4b4c-92cc-63fb6a945bb4" providerId="ADAL" clId="{B815062A-1CE0-47B2-B6FA-D2837D2FEAA4}" dt="2024-11-20T14:25:47.798" v="6895" actId="478"/>
          <ac:spMkLst>
            <pc:docMk/>
            <pc:sldMk cId="60143758" sldId="2147476144"/>
            <ac:spMk id="157" creationId="{B662533E-F9EA-37B9-6F02-98BB7CD508DE}"/>
          </ac:spMkLst>
        </pc:spChg>
        <pc:spChg chg="mod">
          <ac:chgData name="Douglas Daniel Reinoso Peña" userId="60d62e81-f7d7-4b4c-92cc-63fb6a945bb4" providerId="ADAL" clId="{B815062A-1CE0-47B2-B6FA-D2837D2FEAA4}" dt="2024-11-20T14:26:26.332" v="6896" actId="2711"/>
          <ac:spMkLst>
            <pc:docMk/>
            <pc:sldMk cId="60143758" sldId="2147476144"/>
            <ac:spMk id="158" creationId="{3765A79D-4ADD-53FC-DFB3-DD5C6C7CD37C}"/>
          </ac:spMkLst>
        </pc:spChg>
        <pc:spChg chg="mod">
          <ac:chgData name="Douglas Daniel Reinoso Peña" userId="60d62e81-f7d7-4b4c-92cc-63fb6a945bb4" providerId="ADAL" clId="{B815062A-1CE0-47B2-B6FA-D2837D2FEAA4}" dt="2024-11-20T14:26:26.332" v="6896" actId="2711"/>
          <ac:spMkLst>
            <pc:docMk/>
            <pc:sldMk cId="60143758" sldId="2147476144"/>
            <ac:spMk id="162" creationId="{D279348F-8C25-EEC2-CA49-E5C8601E1B19}"/>
          </ac:spMkLst>
        </pc:spChg>
        <pc:spChg chg="mod">
          <ac:chgData name="Douglas Daniel Reinoso Peña" userId="60d62e81-f7d7-4b4c-92cc-63fb6a945bb4" providerId="ADAL" clId="{B815062A-1CE0-47B2-B6FA-D2837D2FEAA4}" dt="2024-11-20T14:26:26.332" v="6896" actId="2711"/>
          <ac:spMkLst>
            <pc:docMk/>
            <pc:sldMk cId="60143758" sldId="2147476144"/>
            <ac:spMk id="165" creationId="{84B6163F-FDA2-CDB2-D693-CF03A91A579B}"/>
          </ac:spMkLst>
        </pc:spChg>
        <pc:spChg chg="mod">
          <ac:chgData name="Douglas Daniel Reinoso Peña" userId="60d62e81-f7d7-4b4c-92cc-63fb6a945bb4" providerId="ADAL" clId="{B815062A-1CE0-47B2-B6FA-D2837D2FEAA4}" dt="2024-11-20T14:26:26.332" v="6896" actId="2711"/>
          <ac:spMkLst>
            <pc:docMk/>
            <pc:sldMk cId="60143758" sldId="2147476144"/>
            <ac:spMk id="166" creationId="{EA39D5CF-539D-B2D5-57B2-C931537EA670}"/>
          </ac:spMkLst>
        </pc:spChg>
        <pc:spChg chg="del">
          <ac:chgData name="Douglas Daniel Reinoso Peña" userId="60d62e81-f7d7-4b4c-92cc-63fb6a945bb4" providerId="ADAL" clId="{B815062A-1CE0-47B2-B6FA-D2837D2FEAA4}" dt="2024-11-20T12:34:32.817" v="6535" actId="478"/>
          <ac:spMkLst>
            <pc:docMk/>
            <pc:sldMk cId="60143758" sldId="2147476144"/>
            <ac:spMk id="167" creationId="{F6000BBE-7D1E-C2A8-A4B9-661F3C8466B2}"/>
          </ac:spMkLst>
        </pc:spChg>
        <pc:spChg chg="del">
          <ac:chgData name="Douglas Daniel Reinoso Peña" userId="60d62e81-f7d7-4b4c-92cc-63fb6a945bb4" providerId="ADAL" clId="{B815062A-1CE0-47B2-B6FA-D2837D2FEAA4}" dt="2024-11-20T12:34:31.448" v="6534" actId="478"/>
          <ac:spMkLst>
            <pc:docMk/>
            <pc:sldMk cId="60143758" sldId="2147476144"/>
            <ac:spMk id="168" creationId="{0EA4229C-1C77-BF83-BCDE-10A78636588C}"/>
          </ac:spMkLst>
        </pc:spChg>
        <pc:spChg chg="mod">
          <ac:chgData name="Douglas Daniel Reinoso Peña" userId="60d62e81-f7d7-4b4c-92cc-63fb6a945bb4" providerId="ADAL" clId="{B815062A-1CE0-47B2-B6FA-D2837D2FEAA4}" dt="2024-11-20T14:26:26.332" v="6896" actId="2711"/>
          <ac:spMkLst>
            <pc:docMk/>
            <pc:sldMk cId="60143758" sldId="2147476144"/>
            <ac:spMk id="169" creationId="{4715D26C-74EC-F070-B633-29E5D21FC6EE}"/>
          </ac:spMkLst>
        </pc:spChg>
        <pc:spChg chg="mod">
          <ac:chgData name="Douglas Daniel Reinoso Peña" userId="60d62e81-f7d7-4b4c-92cc-63fb6a945bb4" providerId="ADAL" clId="{B815062A-1CE0-47B2-B6FA-D2837D2FEAA4}" dt="2024-11-20T14:26:26.332" v="6896" actId="2711"/>
          <ac:spMkLst>
            <pc:docMk/>
            <pc:sldMk cId="60143758" sldId="2147476144"/>
            <ac:spMk id="170" creationId="{444AD8CB-9978-5E60-AD6F-93D3FB95D85E}"/>
          </ac:spMkLst>
        </pc:spChg>
        <pc:spChg chg="del">
          <ac:chgData name="Douglas Daniel Reinoso Peña" userId="60d62e81-f7d7-4b4c-92cc-63fb6a945bb4" providerId="ADAL" clId="{B815062A-1CE0-47B2-B6FA-D2837D2FEAA4}" dt="2024-11-20T12:35:34.772" v="6578" actId="478"/>
          <ac:spMkLst>
            <pc:docMk/>
            <pc:sldMk cId="60143758" sldId="2147476144"/>
            <ac:spMk id="171" creationId="{10BF937F-1828-DB9D-8C9A-0799E74B3F66}"/>
          </ac:spMkLst>
        </pc:spChg>
        <pc:spChg chg="mod">
          <ac:chgData name="Douglas Daniel Reinoso Peña" userId="60d62e81-f7d7-4b4c-92cc-63fb6a945bb4" providerId="ADAL" clId="{B815062A-1CE0-47B2-B6FA-D2837D2FEAA4}" dt="2024-11-20T14:26:26.332" v="6896" actId="2711"/>
          <ac:spMkLst>
            <pc:docMk/>
            <pc:sldMk cId="60143758" sldId="2147476144"/>
            <ac:spMk id="172" creationId="{14C423AF-91E4-5B28-1A8F-DCF99976264E}"/>
          </ac:spMkLst>
        </pc:spChg>
        <pc:spChg chg="mod">
          <ac:chgData name="Douglas Daniel Reinoso Peña" userId="60d62e81-f7d7-4b4c-92cc-63fb6a945bb4" providerId="ADAL" clId="{B815062A-1CE0-47B2-B6FA-D2837D2FEAA4}" dt="2024-11-20T14:26:26.332" v="6896" actId="2711"/>
          <ac:spMkLst>
            <pc:docMk/>
            <pc:sldMk cId="60143758" sldId="2147476144"/>
            <ac:spMk id="173" creationId="{08878ED3-8EBA-6B38-9E19-2BF773E7EE66}"/>
          </ac:spMkLst>
        </pc:spChg>
        <pc:spChg chg="del">
          <ac:chgData name="Douglas Daniel Reinoso Peña" userId="60d62e81-f7d7-4b4c-92cc-63fb6a945bb4" providerId="ADAL" clId="{B815062A-1CE0-47B2-B6FA-D2837D2FEAA4}" dt="2024-11-20T12:36:30.675" v="6589" actId="478"/>
          <ac:spMkLst>
            <pc:docMk/>
            <pc:sldMk cId="60143758" sldId="2147476144"/>
            <ac:spMk id="174" creationId="{9F6F4E71-3467-547E-FF0E-7039C0B552BC}"/>
          </ac:spMkLst>
        </pc:spChg>
        <pc:spChg chg="del">
          <ac:chgData name="Douglas Daniel Reinoso Peña" userId="60d62e81-f7d7-4b4c-92cc-63fb6a945bb4" providerId="ADAL" clId="{B815062A-1CE0-47B2-B6FA-D2837D2FEAA4}" dt="2024-11-20T12:34:36.737" v="6537" actId="478"/>
          <ac:spMkLst>
            <pc:docMk/>
            <pc:sldMk cId="60143758" sldId="2147476144"/>
            <ac:spMk id="175" creationId="{DFB85FAF-B90C-796C-609F-2342EEF42B9B}"/>
          </ac:spMkLst>
        </pc:spChg>
        <pc:spChg chg="del">
          <ac:chgData name="Douglas Daniel Reinoso Peña" userId="60d62e81-f7d7-4b4c-92cc-63fb6a945bb4" providerId="ADAL" clId="{B815062A-1CE0-47B2-B6FA-D2837D2FEAA4}" dt="2024-11-20T12:34:39.323" v="6538" actId="478"/>
          <ac:spMkLst>
            <pc:docMk/>
            <pc:sldMk cId="60143758" sldId="2147476144"/>
            <ac:spMk id="176" creationId="{1FED9264-4953-AD12-E87C-3FC15E8FCB1A}"/>
          </ac:spMkLst>
        </pc:spChg>
        <pc:spChg chg="mod">
          <ac:chgData name="Douglas Daniel Reinoso Peña" userId="60d62e81-f7d7-4b4c-92cc-63fb6a945bb4" providerId="ADAL" clId="{B815062A-1CE0-47B2-B6FA-D2837D2FEAA4}" dt="2024-11-20T14:26:26.332" v="6896" actId="2711"/>
          <ac:spMkLst>
            <pc:docMk/>
            <pc:sldMk cId="60143758" sldId="2147476144"/>
            <ac:spMk id="178" creationId="{C1BF11D5-B541-0867-5848-4D8FA23BF06D}"/>
          </ac:spMkLst>
        </pc:spChg>
        <pc:spChg chg="del">
          <ac:chgData name="Douglas Daniel Reinoso Peña" userId="60d62e81-f7d7-4b4c-92cc-63fb6a945bb4" providerId="ADAL" clId="{B815062A-1CE0-47B2-B6FA-D2837D2FEAA4}" dt="2024-11-20T12:35:36.409" v="6579" actId="478"/>
          <ac:spMkLst>
            <pc:docMk/>
            <pc:sldMk cId="60143758" sldId="2147476144"/>
            <ac:spMk id="179" creationId="{D7C5D608-D78F-EA44-DEA1-F6D1F0C10471}"/>
          </ac:spMkLst>
        </pc:spChg>
        <pc:spChg chg="add del mod">
          <ac:chgData name="Douglas Daniel Reinoso Peña" userId="60d62e81-f7d7-4b4c-92cc-63fb6a945bb4" providerId="ADAL" clId="{B815062A-1CE0-47B2-B6FA-D2837D2FEAA4}" dt="2024-11-20T14:26:26.332" v="6896" actId="2711"/>
          <ac:spMkLst>
            <pc:docMk/>
            <pc:sldMk cId="60143758" sldId="2147476144"/>
            <ac:spMk id="180" creationId="{852510AF-8ACE-B2E0-ACDD-C63274C66210}"/>
          </ac:spMkLst>
        </pc:spChg>
        <pc:spChg chg="mod">
          <ac:chgData name="Douglas Daniel Reinoso Peña" userId="60d62e81-f7d7-4b4c-92cc-63fb6a945bb4" providerId="ADAL" clId="{B815062A-1CE0-47B2-B6FA-D2837D2FEAA4}" dt="2024-11-20T14:26:26.332" v="6896" actId="2711"/>
          <ac:spMkLst>
            <pc:docMk/>
            <pc:sldMk cId="60143758" sldId="2147476144"/>
            <ac:spMk id="181" creationId="{9F6F2F69-6076-D777-B35E-12C71AFCFABD}"/>
          </ac:spMkLst>
        </pc:spChg>
        <pc:spChg chg="mod">
          <ac:chgData name="Douglas Daniel Reinoso Peña" userId="60d62e81-f7d7-4b4c-92cc-63fb6a945bb4" providerId="ADAL" clId="{B815062A-1CE0-47B2-B6FA-D2837D2FEAA4}" dt="2024-11-20T14:26:26.332" v="6896" actId="2711"/>
          <ac:spMkLst>
            <pc:docMk/>
            <pc:sldMk cId="60143758" sldId="2147476144"/>
            <ac:spMk id="182" creationId="{FACAAF1C-ED71-2A7F-9D09-65A807061E3F}"/>
          </ac:spMkLst>
        </pc:spChg>
        <pc:spChg chg="mod">
          <ac:chgData name="Douglas Daniel Reinoso Peña" userId="60d62e81-f7d7-4b4c-92cc-63fb6a945bb4" providerId="ADAL" clId="{B815062A-1CE0-47B2-B6FA-D2837D2FEAA4}" dt="2024-11-20T14:26:26.332" v="6896" actId="2711"/>
          <ac:spMkLst>
            <pc:docMk/>
            <pc:sldMk cId="60143758" sldId="2147476144"/>
            <ac:spMk id="183" creationId="{53EE363A-1227-7686-726C-67006510EBD8}"/>
          </ac:spMkLst>
        </pc:spChg>
        <pc:spChg chg="mod">
          <ac:chgData name="Douglas Daniel Reinoso Peña" userId="60d62e81-f7d7-4b4c-92cc-63fb6a945bb4" providerId="ADAL" clId="{B815062A-1CE0-47B2-B6FA-D2837D2FEAA4}" dt="2024-11-20T14:26:26.332" v="6896" actId="2711"/>
          <ac:spMkLst>
            <pc:docMk/>
            <pc:sldMk cId="60143758" sldId="2147476144"/>
            <ac:spMk id="184" creationId="{C9017D14-8FFD-D841-F47C-2D50A3842E86}"/>
          </ac:spMkLst>
        </pc:spChg>
        <pc:spChg chg="mod">
          <ac:chgData name="Douglas Daniel Reinoso Peña" userId="60d62e81-f7d7-4b4c-92cc-63fb6a945bb4" providerId="ADAL" clId="{B815062A-1CE0-47B2-B6FA-D2837D2FEAA4}" dt="2024-11-20T14:26:26.332" v="6896" actId="2711"/>
          <ac:spMkLst>
            <pc:docMk/>
            <pc:sldMk cId="60143758" sldId="2147476144"/>
            <ac:spMk id="185" creationId="{73062126-2C90-A1AB-D9B3-B7DE866578B9}"/>
          </ac:spMkLst>
        </pc:spChg>
        <pc:spChg chg="mod">
          <ac:chgData name="Douglas Daniel Reinoso Peña" userId="60d62e81-f7d7-4b4c-92cc-63fb6a945bb4" providerId="ADAL" clId="{B815062A-1CE0-47B2-B6FA-D2837D2FEAA4}" dt="2024-11-20T14:26:26.332" v="6896" actId="2711"/>
          <ac:spMkLst>
            <pc:docMk/>
            <pc:sldMk cId="60143758" sldId="2147476144"/>
            <ac:spMk id="186" creationId="{2957700C-2FAB-1375-E078-07990D20985F}"/>
          </ac:spMkLst>
        </pc:spChg>
        <pc:spChg chg="mod">
          <ac:chgData name="Douglas Daniel Reinoso Peña" userId="60d62e81-f7d7-4b4c-92cc-63fb6a945bb4" providerId="ADAL" clId="{B815062A-1CE0-47B2-B6FA-D2837D2FEAA4}" dt="2024-11-20T14:26:26.332" v="6896" actId="2711"/>
          <ac:spMkLst>
            <pc:docMk/>
            <pc:sldMk cId="60143758" sldId="2147476144"/>
            <ac:spMk id="187" creationId="{528DE03A-A835-D17B-B268-FD6357248A7A}"/>
          </ac:spMkLst>
        </pc:spChg>
        <pc:spChg chg="mod">
          <ac:chgData name="Douglas Daniel Reinoso Peña" userId="60d62e81-f7d7-4b4c-92cc-63fb6a945bb4" providerId="ADAL" clId="{B815062A-1CE0-47B2-B6FA-D2837D2FEAA4}" dt="2024-11-20T14:26:26.332" v="6896" actId="2711"/>
          <ac:spMkLst>
            <pc:docMk/>
            <pc:sldMk cId="60143758" sldId="2147476144"/>
            <ac:spMk id="188" creationId="{D15D6CAE-FD74-5F20-457D-99C05DB90154}"/>
          </ac:spMkLst>
        </pc:spChg>
        <pc:spChg chg="mod">
          <ac:chgData name="Douglas Daniel Reinoso Peña" userId="60d62e81-f7d7-4b4c-92cc-63fb6a945bb4" providerId="ADAL" clId="{B815062A-1CE0-47B2-B6FA-D2837D2FEAA4}" dt="2024-11-20T14:26:26.332" v="6896" actId="2711"/>
          <ac:spMkLst>
            <pc:docMk/>
            <pc:sldMk cId="60143758" sldId="2147476144"/>
            <ac:spMk id="189" creationId="{E3F6CA0E-B5C3-7E1B-2196-A81DE42EB383}"/>
          </ac:spMkLst>
        </pc:spChg>
        <pc:spChg chg="mod">
          <ac:chgData name="Douglas Daniel Reinoso Peña" userId="60d62e81-f7d7-4b4c-92cc-63fb6a945bb4" providerId="ADAL" clId="{B815062A-1CE0-47B2-B6FA-D2837D2FEAA4}" dt="2024-11-20T14:26:26.332" v="6896" actId="2711"/>
          <ac:spMkLst>
            <pc:docMk/>
            <pc:sldMk cId="60143758" sldId="2147476144"/>
            <ac:spMk id="190" creationId="{6F62A3E7-0086-27DD-94CB-9996D2BCE19D}"/>
          </ac:spMkLst>
        </pc:spChg>
        <pc:spChg chg="mod">
          <ac:chgData name="Douglas Daniel Reinoso Peña" userId="60d62e81-f7d7-4b4c-92cc-63fb6a945bb4" providerId="ADAL" clId="{B815062A-1CE0-47B2-B6FA-D2837D2FEAA4}" dt="2024-11-20T14:26:26.332" v="6896" actId="2711"/>
          <ac:spMkLst>
            <pc:docMk/>
            <pc:sldMk cId="60143758" sldId="2147476144"/>
            <ac:spMk id="191" creationId="{8EB11D5F-3984-6B95-01EC-267985429B89}"/>
          </ac:spMkLst>
        </pc:spChg>
        <pc:spChg chg="mod">
          <ac:chgData name="Douglas Daniel Reinoso Peña" userId="60d62e81-f7d7-4b4c-92cc-63fb6a945bb4" providerId="ADAL" clId="{B815062A-1CE0-47B2-B6FA-D2837D2FEAA4}" dt="2024-11-20T14:26:26.332" v="6896" actId="2711"/>
          <ac:spMkLst>
            <pc:docMk/>
            <pc:sldMk cId="60143758" sldId="2147476144"/>
            <ac:spMk id="192" creationId="{46A0F158-5278-0A4A-9B17-9379FD9FE579}"/>
          </ac:spMkLst>
        </pc:spChg>
        <pc:spChg chg="mod">
          <ac:chgData name="Douglas Daniel Reinoso Peña" userId="60d62e81-f7d7-4b4c-92cc-63fb6a945bb4" providerId="ADAL" clId="{B815062A-1CE0-47B2-B6FA-D2837D2FEAA4}" dt="2024-11-20T14:26:26.332" v="6896" actId="2711"/>
          <ac:spMkLst>
            <pc:docMk/>
            <pc:sldMk cId="60143758" sldId="2147476144"/>
            <ac:spMk id="193" creationId="{5B9E2100-0A32-19F3-6875-9F564A83B5A4}"/>
          </ac:spMkLst>
        </pc:spChg>
        <pc:spChg chg="mod">
          <ac:chgData name="Douglas Daniel Reinoso Peña" userId="60d62e81-f7d7-4b4c-92cc-63fb6a945bb4" providerId="ADAL" clId="{B815062A-1CE0-47B2-B6FA-D2837D2FEAA4}" dt="2024-11-20T14:26:26.332" v="6896" actId="2711"/>
          <ac:spMkLst>
            <pc:docMk/>
            <pc:sldMk cId="60143758" sldId="2147476144"/>
            <ac:spMk id="194" creationId="{6456EFC5-8ABE-F342-126F-2B14DF2DC50F}"/>
          </ac:spMkLst>
        </pc:spChg>
        <pc:spChg chg="mod">
          <ac:chgData name="Douglas Daniel Reinoso Peña" userId="60d62e81-f7d7-4b4c-92cc-63fb6a945bb4" providerId="ADAL" clId="{B815062A-1CE0-47B2-B6FA-D2837D2FEAA4}" dt="2024-11-20T14:26:26.332" v="6896" actId="2711"/>
          <ac:spMkLst>
            <pc:docMk/>
            <pc:sldMk cId="60143758" sldId="2147476144"/>
            <ac:spMk id="195" creationId="{8E922AD6-E93C-FE95-EF91-FA4FFE6355D9}"/>
          </ac:spMkLst>
        </pc:spChg>
        <pc:spChg chg="mod">
          <ac:chgData name="Douglas Daniel Reinoso Peña" userId="60d62e81-f7d7-4b4c-92cc-63fb6a945bb4" providerId="ADAL" clId="{B815062A-1CE0-47B2-B6FA-D2837D2FEAA4}" dt="2024-11-20T14:26:26.332" v="6896" actId="2711"/>
          <ac:spMkLst>
            <pc:docMk/>
            <pc:sldMk cId="60143758" sldId="2147476144"/>
            <ac:spMk id="198" creationId="{DBBCE150-CD30-3E89-00FD-F0C814730D3E}"/>
          </ac:spMkLst>
        </pc:spChg>
        <pc:spChg chg="mod">
          <ac:chgData name="Douglas Daniel Reinoso Peña" userId="60d62e81-f7d7-4b4c-92cc-63fb6a945bb4" providerId="ADAL" clId="{B815062A-1CE0-47B2-B6FA-D2837D2FEAA4}" dt="2024-11-20T14:26:26.332" v="6896" actId="2711"/>
          <ac:spMkLst>
            <pc:docMk/>
            <pc:sldMk cId="60143758" sldId="2147476144"/>
            <ac:spMk id="199" creationId="{EEBFC6BF-4D82-44A5-F01C-0101A59ECB1B}"/>
          </ac:spMkLst>
        </pc:spChg>
        <pc:spChg chg="del">
          <ac:chgData name="Douglas Daniel Reinoso Peña" userId="60d62e81-f7d7-4b4c-92cc-63fb6a945bb4" providerId="ADAL" clId="{B815062A-1CE0-47B2-B6FA-D2837D2FEAA4}" dt="2024-11-20T12:37:14.406" v="6595" actId="478"/>
          <ac:spMkLst>
            <pc:docMk/>
            <pc:sldMk cId="60143758" sldId="2147476144"/>
            <ac:spMk id="200" creationId="{48428E49-B3B2-7B27-F896-D1671893CAA6}"/>
          </ac:spMkLst>
        </pc:spChg>
        <pc:spChg chg="del">
          <ac:chgData name="Douglas Daniel Reinoso Peña" userId="60d62e81-f7d7-4b4c-92cc-63fb6a945bb4" providerId="ADAL" clId="{B815062A-1CE0-47B2-B6FA-D2837D2FEAA4}" dt="2024-11-20T12:37:15.667" v="6596" actId="478"/>
          <ac:spMkLst>
            <pc:docMk/>
            <pc:sldMk cId="60143758" sldId="2147476144"/>
            <ac:spMk id="201" creationId="{3393F463-04C3-B9DD-4EDE-607C72708A04}"/>
          </ac:spMkLst>
        </pc:spChg>
        <pc:spChg chg="mod">
          <ac:chgData name="Douglas Daniel Reinoso Peña" userId="60d62e81-f7d7-4b4c-92cc-63fb6a945bb4" providerId="ADAL" clId="{B815062A-1CE0-47B2-B6FA-D2837D2FEAA4}" dt="2024-11-20T14:26:26.332" v="6896" actId="2711"/>
          <ac:spMkLst>
            <pc:docMk/>
            <pc:sldMk cId="60143758" sldId="2147476144"/>
            <ac:spMk id="202" creationId="{0F17607A-11A0-8E30-84AA-AADD623F0592}"/>
          </ac:spMkLst>
        </pc:spChg>
        <pc:spChg chg="mod">
          <ac:chgData name="Douglas Daniel Reinoso Peña" userId="60d62e81-f7d7-4b4c-92cc-63fb6a945bb4" providerId="ADAL" clId="{B815062A-1CE0-47B2-B6FA-D2837D2FEAA4}" dt="2024-11-20T14:26:26.332" v="6896" actId="2711"/>
          <ac:spMkLst>
            <pc:docMk/>
            <pc:sldMk cId="60143758" sldId="2147476144"/>
            <ac:spMk id="203" creationId="{CDA374B9-50D5-C048-62F0-280752070CAE}"/>
          </ac:spMkLst>
        </pc:spChg>
        <pc:spChg chg="mod">
          <ac:chgData name="Douglas Daniel Reinoso Peña" userId="60d62e81-f7d7-4b4c-92cc-63fb6a945bb4" providerId="ADAL" clId="{B815062A-1CE0-47B2-B6FA-D2837D2FEAA4}" dt="2024-11-20T14:26:26.332" v="6896" actId="2711"/>
          <ac:spMkLst>
            <pc:docMk/>
            <pc:sldMk cId="60143758" sldId="2147476144"/>
            <ac:spMk id="204" creationId="{CB524661-3537-276D-EFA1-97869EEE06E1}"/>
          </ac:spMkLst>
        </pc:spChg>
        <pc:spChg chg="del">
          <ac:chgData name="Douglas Daniel Reinoso Peña" userId="60d62e81-f7d7-4b4c-92cc-63fb6a945bb4" providerId="ADAL" clId="{B815062A-1CE0-47B2-B6FA-D2837D2FEAA4}" dt="2024-11-20T12:35:42.521" v="6581" actId="478"/>
          <ac:spMkLst>
            <pc:docMk/>
            <pc:sldMk cId="60143758" sldId="2147476144"/>
            <ac:spMk id="205" creationId="{FDCB9147-A0BA-E374-8DDB-2D05903B5B7A}"/>
          </ac:spMkLst>
        </pc:spChg>
        <pc:spChg chg="add del">
          <ac:chgData name="Douglas Daniel Reinoso Peña" userId="60d62e81-f7d7-4b4c-92cc-63fb6a945bb4" providerId="ADAL" clId="{B815062A-1CE0-47B2-B6FA-D2837D2FEAA4}" dt="2024-11-20T12:36:08.977" v="6587" actId="478"/>
          <ac:spMkLst>
            <pc:docMk/>
            <pc:sldMk cId="60143758" sldId="2147476144"/>
            <ac:spMk id="207" creationId="{33608D3A-1D63-1EE2-EA4D-E1133125244B}"/>
          </ac:spMkLst>
        </pc:spChg>
        <pc:spChg chg="del mod">
          <ac:chgData name="Douglas Daniel Reinoso Peña" userId="60d62e81-f7d7-4b4c-92cc-63fb6a945bb4" providerId="ADAL" clId="{B815062A-1CE0-47B2-B6FA-D2837D2FEAA4}" dt="2024-11-20T12:37:31.022" v="6597" actId="478"/>
          <ac:spMkLst>
            <pc:docMk/>
            <pc:sldMk cId="60143758" sldId="2147476144"/>
            <ac:spMk id="208" creationId="{BA65E9CE-2430-CC78-C851-5625A0DBFB79}"/>
          </ac:spMkLst>
        </pc:spChg>
        <pc:spChg chg="del">
          <ac:chgData name="Douglas Daniel Reinoso Peña" userId="60d62e81-f7d7-4b4c-92cc-63fb6a945bb4" providerId="ADAL" clId="{B815062A-1CE0-47B2-B6FA-D2837D2FEAA4}" dt="2024-11-20T12:35:47.661" v="6582" actId="478"/>
          <ac:spMkLst>
            <pc:docMk/>
            <pc:sldMk cId="60143758" sldId="2147476144"/>
            <ac:spMk id="209" creationId="{DA268AD3-8A0F-0D0A-C592-4A2872716E56}"/>
          </ac:spMkLst>
        </pc:spChg>
        <pc:spChg chg="mod">
          <ac:chgData name="Douglas Daniel Reinoso Peña" userId="60d62e81-f7d7-4b4c-92cc-63fb6a945bb4" providerId="ADAL" clId="{B815062A-1CE0-47B2-B6FA-D2837D2FEAA4}" dt="2024-11-20T14:26:26.332" v="6896" actId="2711"/>
          <ac:spMkLst>
            <pc:docMk/>
            <pc:sldMk cId="60143758" sldId="2147476144"/>
            <ac:spMk id="210" creationId="{E6E6C5D9-9F1F-BFC5-5854-1B8F6F11BA9A}"/>
          </ac:spMkLst>
        </pc:spChg>
        <pc:spChg chg="mod">
          <ac:chgData name="Douglas Daniel Reinoso Peña" userId="60d62e81-f7d7-4b4c-92cc-63fb6a945bb4" providerId="ADAL" clId="{B815062A-1CE0-47B2-B6FA-D2837D2FEAA4}" dt="2024-11-20T14:26:26.332" v="6896" actId="2711"/>
          <ac:spMkLst>
            <pc:docMk/>
            <pc:sldMk cId="60143758" sldId="2147476144"/>
            <ac:spMk id="211" creationId="{8F8DE8A3-523A-39A4-986D-3692F5D35FAE}"/>
          </ac:spMkLst>
        </pc:spChg>
        <pc:graphicFrameChg chg="mod">
          <ac:chgData name="Douglas Daniel Reinoso Peña" userId="60d62e81-f7d7-4b4c-92cc-63fb6a945bb4" providerId="ADAL" clId="{B815062A-1CE0-47B2-B6FA-D2837D2FEAA4}" dt="2024-11-20T14:26:26.899" v="6899"/>
          <ac:graphicFrameMkLst>
            <pc:docMk/>
            <pc:sldMk cId="60143758" sldId="2147476144"/>
            <ac:graphicFrameMk id="5" creationId="{DE6C8898-C499-7198-1094-F15B686DA496}"/>
          </ac:graphicFrameMkLst>
        </pc:graphicFrameChg>
      </pc:sldChg>
      <pc:sldChg chg="addSp delSp modSp add mod modClrScheme modShow chgLayout">
        <pc:chgData name="Douglas Daniel Reinoso Peña" userId="60d62e81-f7d7-4b4c-92cc-63fb6a945bb4" providerId="ADAL" clId="{B815062A-1CE0-47B2-B6FA-D2837D2FEAA4}" dt="2024-11-19T19:42:33.791" v="4919" actId="729"/>
        <pc:sldMkLst>
          <pc:docMk/>
          <pc:sldMk cId="730798699" sldId="2147476145"/>
        </pc:sldMkLst>
        <pc:spChg chg="add del mod ord">
          <ac:chgData name="Douglas Daniel Reinoso Peña" userId="60d62e81-f7d7-4b4c-92cc-63fb6a945bb4" providerId="ADAL" clId="{B815062A-1CE0-47B2-B6FA-D2837D2FEAA4}" dt="2024-11-19T19:42:20.330" v="4912" actId="700"/>
          <ac:spMkLst>
            <pc:docMk/>
            <pc:sldMk cId="730798699" sldId="2147476145"/>
            <ac:spMk id="2" creationId="{39D8F0CA-7810-7567-2EB1-082B9E00C9C7}"/>
          </ac:spMkLst>
        </pc:spChg>
        <pc:graphicFrameChg chg="mod">
          <ac:chgData name="Douglas Daniel Reinoso Peña" userId="60d62e81-f7d7-4b4c-92cc-63fb6a945bb4" providerId="ADAL" clId="{B815062A-1CE0-47B2-B6FA-D2837D2FEAA4}" dt="2024-11-19T19:42:21.030" v="4914"/>
          <ac:graphicFrameMkLst>
            <pc:docMk/>
            <pc:sldMk cId="730798699" sldId="2147476145"/>
            <ac:graphicFrameMk id="4" creationId="{FB764C80-F2E2-BE05-B4CA-07BBD8C4F72E}"/>
          </ac:graphicFrameMkLst>
        </pc:graphicFrameChg>
      </pc:sldChg>
      <pc:sldChg chg="addSp delSp modSp add mod modClrScheme modShow chgLayout">
        <pc:chgData name="Douglas Daniel Reinoso Peña" userId="60d62e81-f7d7-4b4c-92cc-63fb6a945bb4" providerId="ADAL" clId="{B815062A-1CE0-47B2-B6FA-D2837D2FEAA4}" dt="2024-11-19T19:42:33.791" v="4919" actId="729"/>
        <pc:sldMkLst>
          <pc:docMk/>
          <pc:sldMk cId="1894330682" sldId="2147476146"/>
        </pc:sldMkLst>
        <pc:spChg chg="add del mod ord">
          <ac:chgData name="Douglas Daniel Reinoso Peña" userId="60d62e81-f7d7-4b4c-92cc-63fb6a945bb4" providerId="ADAL" clId="{B815062A-1CE0-47B2-B6FA-D2837D2FEAA4}" dt="2024-11-19T19:42:20.330" v="4912" actId="700"/>
          <ac:spMkLst>
            <pc:docMk/>
            <pc:sldMk cId="1894330682" sldId="2147476146"/>
            <ac:spMk id="2" creationId="{575BD384-336A-6E07-EB24-C7B2B654F651}"/>
          </ac:spMkLst>
        </pc:spChg>
        <pc:graphicFrameChg chg="mod">
          <ac:chgData name="Douglas Daniel Reinoso Peña" userId="60d62e81-f7d7-4b4c-92cc-63fb6a945bb4" providerId="ADAL" clId="{B815062A-1CE0-47B2-B6FA-D2837D2FEAA4}" dt="2024-11-19T19:42:29.094" v="4918"/>
          <ac:graphicFrameMkLst>
            <pc:docMk/>
            <pc:sldMk cId="1894330682" sldId="2147476146"/>
            <ac:graphicFrameMk id="4" creationId="{FB764C80-F2E2-BE05-B4CA-07BBD8C4F72E}"/>
          </ac:graphicFrameMkLst>
        </pc:graphicFrameChg>
      </pc:sldChg>
      <pc:sldChg chg="del mod modShow">
        <pc:chgData name="Douglas Daniel Reinoso Peña" userId="60d62e81-f7d7-4b4c-92cc-63fb6a945bb4" providerId="ADAL" clId="{B815062A-1CE0-47B2-B6FA-D2837D2FEAA4}" dt="2024-11-20T13:07:40.687" v="6715" actId="47"/>
        <pc:sldMkLst>
          <pc:docMk/>
          <pc:sldMk cId="3343260223" sldId="2147476167"/>
        </pc:sldMkLst>
      </pc:sldChg>
      <pc:sldChg chg="addSp delSp modSp del mod ord modClrScheme chgLayout">
        <pc:chgData name="Douglas Daniel Reinoso Peña" userId="60d62e81-f7d7-4b4c-92cc-63fb6a945bb4" providerId="ADAL" clId="{B815062A-1CE0-47B2-B6FA-D2837D2FEAA4}" dt="2024-11-19T12:58:33.621" v="2362" actId="47"/>
        <pc:sldMkLst>
          <pc:docMk/>
          <pc:sldMk cId="3503486105" sldId="2147476172"/>
        </pc:sldMkLst>
        <pc:spChg chg="add del mod ord">
          <ac:chgData name="Douglas Daniel Reinoso Peña" userId="60d62e81-f7d7-4b4c-92cc-63fb6a945bb4" providerId="ADAL" clId="{B815062A-1CE0-47B2-B6FA-D2837D2FEAA4}" dt="2024-11-19T12:56:59.892" v="2184" actId="700"/>
          <ac:spMkLst>
            <pc:docMk/>
            <pc:sldMk cId="3503486105" sldId="2147476172"/>
            <ac:spMk id="8" creationId="{7EA37C2A-D7D3-49DB-3270-E9C1322A0DD7}"/>
          </ac:spMkLst>
        </pc:spChg>
        <pc:spChg chg="add mod ord">
          <ac:chgData name="Douglas Daniel Reinoso Peña" userId="60d62e81-f7d7-4b4c-92cc-63fb6a945bb4" providerId="ADAL" clId="{B815062A-1CE0-47B2-B6FA-D2837D2FEAA4}" dt="2024-11-19T12:56:59.892" v="2184" actId="700"/>
          <ac:spMkLst>
            <pc:docMk/>
            <pc:sldMk cId="3503486105" sldId="2147476172"/>
            <ac:spMk id="10" creationId="{0F4E9BA9-ECA5-BE0F-6F5A-65CEBEB29236}"/>
          </ac:spMkLst>
        </pc:spChg>
        <pc:graphicFrameChg chg="mod">
          <ac:chgData name="Douglas Daniel Reinoso Peña" userId="60d62e81-f7d7-4b4c-92cc-63fb6a945bb4" providerId="ADAL" clId="{B815062A-1CE0-47B2-B6FA-D2837D2FEAA4}" dt="2024-11-19T12:57:00.464" v="2186"/>
          <ac:graphicFrameMkLst>
            <pc:docMk/>
            <pc:sldMk cId="3503486105" sldId="2147476172"/>
            <ac:graphicFrameMk id="7" creationId="{5C8DA326-434F-EE63-55B8-50F734868E2A}"/>
          </ac:graphicFrameMkLst>
        </pc:graphicFrameChg>
        <pc:picChg chg="del">
          <ac:chgData name="Douglas Daniel Reinoso Peña" userId="60d62e81-f7d7-4b4c-92cc-63fb6a945bb4" providerId="ADAL" clId="{B815062A-1CE0-47B2-B6FA-D2837D2FEAA4}" dt="2024-11-19T12:56:52.968" v="2182" actId="478"/>
          <ac:picMkLst>
            <pc:docMk/>
            <pc:sldMk cId="3503486105" sldId="2147476172"/>
            <ac:picMk id="1026" creationId="{B8429E64-4623-EA0E-8CB4-856F53DF0E38}"/>
          </ac:picMkLst>
        </pc:picChg>
      </pc:sldChg>
      <pc:sldChg chg="del">
        <pc:chgData name="Douglas Daniel Reinoso Peña" userId="60d62e81-f7d7-4b4c-92cc-63fb6a945bb4" providerId="ADAL" clId="{B815062A-1CE0-47B2-B6FA-D2837D2FEAA4}" dt="2024-11-19T13:14:24.651" v="2790" actId="47"/>
        <pc:sldMkLst>
          <pc:docMk/>
          <pc:sldMk cId="2704512448" sldId="2147476186"/>
        </pc:sldMkLst>
      </pc:sldChg>
      <pc:sldChg chg="del mod modShow">
        <pc:chgData name="Douglas Daniel Reinoso Peña" userId="60d62e81-f7d7-4b4c-92cc-63fb6a945bb4" providerId="ADAL" clId="{B815062A-1CE0-47B2-B6FA-D2837D2FEAA4}" dt="2024-11-20T13:07:40.687" v="6715" actId="47"/>
        <pc:sldMkLst>
          <pc:docMk/>
          <pc:sldMk cId="354006588" sldId="2147476187"/>
        </pc:sldMkLst>
      </pc:sldChg>
      <pc:sldChg chg="addSp delSp modSp mod ord modClrScheme chgLayout">
        <pc:chgData name="Douglas Daniel Reinoso Peña" userId="60d62e81-f7d7-4b4c-92cc-63fb6a945bb4" providerId="ADAL" clId="{B815062A-1CE0-47B2-B6FA-D2837D2FEAA4}" dt="2024-11-19T15:08:15.738" v="4842" actId="14100"/>
        <pc:sldMkLst>
          <pc:docMk/>
          <pc:sldMk cId="2912802757" sldId="2147476189"/>
        </pc:sldMkLst>
        <pc:spChg chg="add mod ord">
          <ac:chgData name="Douglas Daniel Reinoso Peña" userId="60d62e81-f7d7-4b4c-92cc-63fb6a945bb4" providerId="ADAL" clId="{B815062A-1CE0-47B2-B6FA-D2837D2FEAA4}" dt="2024-11-19T12:37:25.725" v="1363" actId="948"/>
          <ac:spMkLst>
            <pc:docMk/>
            <pc:sldMk cId="2912802757" sldId="2147476189"/>
            <ac:spMk id="2" creationId="{A259D072-D2B0-D6AD-4698-AAE26001B46E}"/>
          </ac:spMkLst>
        </pc:spChg>
        <pc:spChg chg="add del mod modVis">
          <ac:chgData name="Douglas Daniel Reinoso Peña" userId="60d62e81-f7d7-4b4c-92cc-63fb6a945bb4" providerId="ADAL" clId="{B815062A-1CE0-47B2-B6FA-D2837D2FEAA4}" dt="2024-11-19T12:37:23.496" v="1358"/>
          <ac:spMkLst>
            <pc:docMk/>
            <pc:sldMk cId="2912802757" sldId="2147476189"/>
            <ac:spMk id="3" creationId="{B6BB581E-3F97-2392-6133-8591624EE44D}"/>
          </ac:spMkLst>
        </pc:spChg>
        <pc:spChg chg="mod">
          <ac:chgData name="Douglas Daniel Reinoso Peña" userId="60d62e81-f7d7-4b4c-92cc-63fb6a945bb4" providerId="ADAL" clId="{B815062A-1CE0-47B2-B6FA-D2837D2FEAA4}" dt="2024-11-19T14:10:29.242" v="3925" actId="1076"/>
          <ac:spMkLst>
            <pc:docMk/>
            <pc:sldMk cId="2912802757" sldId="2147476189"/>
            <ac:spMk id="6" creationId="{321F5AD8-A301-0A91-E26D-B89FB8795643}"/>
          </ac:spMkLst>
        </pc:spChg>
        <pc:spChg chg="mod">
          <ac:chgData name="Douglas Daniel Reinoso Peña" userId="60d62e81-f7d7-4b4c-92cc-63fb6a945bb4" providerId="ADAL" clId="{B815062A-1CE0-47B2-B6FA-D2837D2FEAA4}" dt="2024-11-19T14:10:35.600" v="3926" actId="207"/>
          <ac:spMkLst>
            <pc:docMk/>
            <pc:sldMk cId="2912802757" sldId="2147476189"/>
            <ac:spMk id="8" creationId="{73B2A44A-2C4C-74D9-778C-2D2313E77D43}"/>
          </ac:spMkLst>
        </pc:spChg>
        <pc:spChg chg="mod">
          <ac:chgData name="Douglas Daniel Reinoso Peña" userId="60d62e81-f7d7-4b4c-92cc-63fb6a945bb4" providerId="ADAL" clId="{B815062A-1CE0-47B2-B6FA-D2837D2FEAA4}" dt="2024-11-19T14:10:39.302" v="3927" actId="207"/>
          <ac:spMkLst>
            <pc:docMk/>
            <pc:sldMk cId="2912802757" sldId="2147476189"/>
            <ac:spMk id="9" creationId="{00D3D821-3C98-FD7E-9AFF-D80F29103FDD}"/>
          </ac:spMkLst>
        </pc:spChg>
        <pc:spChg chg="mod">
          <ac:chgData name="Douglas Daniel Reinoso Peña" userId="60d62e81-f7d7-4b4c-92cc-63fb6a945bb4" providerId="ADAL" clId="{B815062A-1CE0-47B2-B6FA-D2837D2FEAA4}" dt="2024-11-19T14:10:42.505" v="3928" actId="207"/>
          <ac:spMkLst>
            <pc:docMk/>
            <pc:sldMk cId="2912802757" sldId="2147476189"/>
            <ac:spMk id="10" creationId="{19C36EE0-8503-46CC-F1F8-C4213D628E56}"/>
          </ac:spMkLst>
        </pc:spChg>
        <pc:spChg chg="mod">
          <ac:chgData name="Douglas Daniel Reinoso Peña" userId="60d62e81-f7d7-4b4c-92cc-63fb6a945bb4" providerId="ADAL" clId="{B815062A-1CE0-47B2-B6FA-D2837D2FEAA4}" dt="2024-11-19T15:08:15.738" v="4842" actId="14100"/>
          <ac:spMkLst>
            <pc:docMk/>
            <pc:sldMk cId="2912802757" sldId="2147476189"/>
            <ac:spMk id="11" creationId="{A63A0798-6A4C-5A2F-0E11-633ADBEC5102}"/>
          </ac:spMkLst>
        </pc:spChg>
        <pc:spChg chg="mod">
          <ac:chgData name="Douglas Daniel Reinoso Peña" userId="60d62e81-f7d7-4b4c-92cc-63fb6a945bb4" providerId="ADAL" clId="{B815062A-1CE0-47B2-B6FA-D2837D2FEAA4}" dt="2024-11-19T15:08:15.738" v="4842" actId="14100"/>
          <ac:spMkLst>
            <pc:docMk/>
            <pc:sldMk cId="2912802757" sldId="2147476189"/>
            <ac:spMk id="12" creationId="{C780A0BA-07B5-F279-F712-EEB298FA9A1C}"/>
          </ac:spMkLst>
        </pc:spChg>
        <pc:spChg chg="mod">
          <ac:chgData name="Douglas Daniel Reinoso Peña" userId="60d62e81-f7d7-4b4c-92cc-63fb6a945bb4" providerId="ADAL" clId="{B815062A-1CE0-47B2-B6FA-D2837D2FEAA4}" dt="2024-11-19T15:08:15.738" v="4842" actId="14100"/>
          <ac:spMkLst>
            <pc:docMk/>
            <pc:sldMk cId="2912802757" sldId="2147476189"/>
            <ac:spMk id="16" creationId="{51F90DCF-D4AA-9BFD-14DA-02266505D717}"/>
          </ac:spMkLst>
        </pc:spChg>
        <pc:spChg chg="mod">
          <ac:chgData name="Douglas Daniel Reinoso Peña" userId="60d62e81-f7d7-4b4c-92cc-63fb6a945bb4" providerId="ADAL" clId="{B815062A-1CE0-47B2-B6FA-D2837D2FEAA4}" dt="2024-11-19T14:10:45.883" v="3929" actId="207"/>
          <ac:spMkLst>
            <pc:docMk/>
            <pc:sldMk cId="2912802757" sldId="2147476189"/>
            <ac:spMk id="19" creationId="{C698E7BB-973F-43B1-9D81-80A525E8968A}"/>
          </ac:spMkLst>
        </pc:spChg>
        <pc:spChg chg="mod">
          <ac:chgData name="Douglas Daniel Reinoso Peña" userId="60d62e81-f7d7-4b4c-92cc-63fb6a945bb4" providerId="ADAL" clId="{B815062A-1CE0-47B2-B6FA-D2837D2FEAA4}" dt="2024-11-19T12:39:01.908" v="1447" actId="14100"/>
          <ac:spMkLst>
            <pc:docMk/>
            <pc:sldMk cId="2912802757" sldId="2147476189"/>
            <ac:spMk id="20" creationId="{3BADAB02-6AF2-E2F4-45D1-2A7DE44436A0}"/>
          </ac:spMkLst>
        </pc:spChg>
        <pc:spChg chg="mod">
          <ac:chgData name="Douglas Daniel Reinoso Peña" userId="60d62e81-f7d7-4b4c-92cc-63fb6a945bb4" providerId="ADAL" clId="{B815062A-1CE0-47B2-B6FA-D2837D2FEAA4}" dt="2024-11-19T12:38:19.411" v="1439" actId="1035"/>
          <ac:spMkLst>
            <pc:docMk/>
            <pc:sldMk cId="2912802757" sldId="2147476189"/>
            <ac:spMk id="21" creationId="{C474CB47-CB1A-15BC-2614-E1C396A008D7}"/>
          </ac:spMkLst>
        </pc:spChg>
        <pc:spChg chg="add del mod modVis">
          <ac:chgData name="Douglas Daniel Reinoso Peña" userId="60d62e81-f7d7-4b4c-92cc-63fb6a945bb4" providerId="ADAL" clId="{B815062A-1CE0-47B2-B6FA-D2837D2FEAA4}" dt="2024-11-19T12:37:25.749" v="1384"/>
          <ac:spMkLst>
            <pc:docMk/>
            <pc:sldMk cId="2912802757" sldId="2147476189"/>
            <ac:spMk id="22" creationId="{85E1DD20-C203-550A-4AB4-1D109FBD1567}"/>
          </ac:spMkLst>
        </pc:spChg>
        <pc:spChg chg="mod">
          <ac:chgData name="Douglas Daniel Reinoso Peña" userId="60d62e81-f7d7-4b4c-92cc-63fb6a945bb4" providerId="ADAL" clId="{B815062A-1CE0-47B2-B6FA-D2837D2FEAA4}" dt="2024-11-19T12:38:24.133" v="1442" actId="1035"/>
          <ac:spMkLst>
            <pc:docMk/>
            <pc:sldMk cId="2912802757" sldId="2147476189"/>
            <ac:spMk id="24" creationId="{FDEA94D4-E25D-1300-9F23-629B87857B7F}"/>
          </ac:spMkLst>
        </pc:spChg>
        <pc:spChg chg="mod">
          <ac:chgData name="Douglas Daniel Reinoso Peña" userId="60d62e81-f7d7-4b4c-92cc-63fb6a945bb4" providerId="ADAL" clId="{B815062A-1CE0-47B2-B6FA-D2837D2FEAA4}" dt="2024-11-19T14:10:52.066" v="3931" actId="207"/>
          <ac:spMkLst>
            <pc:docMk/>
            <pc:sldMk cId="2912802757" sldId="2147476189"/>
            <ac:spMk id="31" creationId="{A69D6E24-3D84-E2CB-9841-F3A5ADA75CDD}"/>
          </ac:spMkLst>
        </pc:spChg>
        <pc:spChg chg="mod">
          <ac:chgData name="Douglas Daniel Reinoso Peña" userId="60d62e81-f7d7-4b4c-92cc-63fb6a945bb4" providerId="ADAL" clId="{B815062A-1CE0-47B2-B6FA-D2837D2FEAA4}" dt="2024-11-19T12:38:59.033" v="1446" actId="14100"/>
          <ac:spMkLst>
            <pc:docMk/>
            <pc:sldMk cId="2912802757" sldId="2147476189"/>
            <ac:spMk id="32" creationId="{44778657-FC8B-7B0C-7F9C-DA733EA684BF}"/>
          </ac:spMkLst>
        </pc:spChg>
        <pc:spChg chg="mod">
          <ac:chgData name="Douglas Daniel Reinoso Peña" userId="60d62e81-f7d7-4b4c-92cc-63fb6a945bb4" providerId="ADAL" clId="{B815062A-1CE0-47B2-B6FA-D2837D2FEAA4}" dt="2024-11-19T12:38:51.425" v="1444" actId="14100"/>
          <ac:spMkLst>
            <pc:docMk/>
            <pc:sldMk cId="2912802757" sldId="2147476189"/>
            <ac:spMk id="34" creationId="{D5582FBA-F191-595F-01B7-9E5BDD8A553C}"/>
          </ac:spMkLst>
        </pc:spChg>
        <pc:spChg chg="mod">
          <ac:chgData name="Douglas Daniel Reinoso Peña" userId="60d62e81-f7d7-4b4c-92cc-63fb6a945bb4" providerId="ADAL" clId="{B815062A-1CE0-47B2-B6FA-D2837D2FEAA4}" dt="2024-11-19T12:38:56.549" v="1445" actId="14100"/>
          <ac:spMkLst>
            <pc:docMk/>
            <pc:sldMk cId="2912802757" sldId="2147476189"/>
            <ac:spMk id="38" creationId="{9D5B00AF-E46A-5463-BB47-6E27B73D11C3}"/>
          </ac:spMkLst>
        </pc:spChg>
        <pc:grpChg chg="mod">
          <ac:chgData name="Douglas Daniel Reinoso Peña" userId="60d62e81-f7d7-4b4c-92cc-63fb6a945bb4" providerId="ADAL" clId="{B815062A-1CE0-47B2-B6FA-D2837D2FEAA4}" dt="2024-11-19T15:08:15.738" v="4842" actId="14100"/>
          <ac:grpSpMkLst>
            <pc:docMk/>
            <pc:sldMk cId="2912802757" sldId="2147476189"/>
            <ac:grpSpMk id="4" creationId="{1C8D5202-D056-76B6-AED0-F9CDA35DF1DE}"/>
          </ac:grpSpMkLst>
        </pc:grpChg>
        <pc:grpChg chg="mod">
          <ac:chgData name="Douglas Daniel Reinoso Peña" userId="60d62e81-f7d7-4b4c-92cc-63fb6a945bb4" providerId="ADAL" clId="{B815062A-1CE0-47B2-B6FA-D2837D2FEAA4}" dt="2024-11-19T12:38:19.411" v="1439" actId="1035"/>
          <ac:grpSpMkLst>
            <pc:docMk/>
            <pc:sldMk cId="2912802757" sldId="2147476189"/>
            <ac:grpSpMk id="18" creationId="{8410E29B-32BE-BDD0-B4E2-CB5F2293AD65}"/>
          </ac:grpSpMkLst>
        </pc:grpChg>
        <pc:grpChg chg="mod">
          <ac:chgData name="Douglas Daniel Reinoso Peña" userId="60d62e81-f7d7-4b4c-92cc-63fb6a945bb4" providerId="ADAL" clId="{B815062A-1CE0-47B2-B6FA-D2837D2FEAA4}" dt="2024-11-19T12:37:46.768" v="1412" actId="2711"/>
          <ac:grpSpMkLst>
            <pc:docMk/>
            <pc:sldMk cId="2912802757" sldId="2147476189"/>
            <ac:grpSpMk id="27" creationId="{1CF9A927-97D4-01E0-3017-0BA6AF9C861F}"/>
          </ac:grpSpMkLst>
        </pc:grpChg>
        <pc:grpChg chg="mod">
          <ac:chgData name="Douglas Daniel Reinoso Peña" userId="60d62e81-f7d7-4b4c-92cc-63fb6a945bb4" providerId="ADAL" clId="{B815062A-1CE0-47B2-B6FA-D2837D2FEAA4}" dt="2024-11-19T12:37:46.768" v="1412" actId="2711"/>
          <ac:grpSpMkLst>
            <pc:docMk/>
            <pc:sldMk cId="2912802757" sldId="2147476189"/>
            <ac:grpSpMk id="33" creationId="{F9B79BDC-D4DA-534B-EBD9-AA489C2DF545}"/>
          </ac:grpSpMkLst>
        </pc:grpChg>
        <pc:grpChg chg="mod">
          <ac:chgData name="Douglas Daniel Reinoso Peña" userId="60d62e81-f7d7-4b4c-92cc-63fb6a945bb4" providerId="ADAL" clId="{B815062A-1CE0-47B2-B6FA-D2837D2FEAA4}" dt="2024-11-19T12:37:46.768" v="1412" actId="2711"/>
          <ac:grpSpMkLst>
            <pc:docMk/>
            <pc:sldMk cId="2912802757" sldId="2147476189"/>
            <ac:grpSpMk id="44" creationId="{0819B55D-D521-995B-D5B0-C8F2A145FFE6}"/>
          </ac:grpSpMkLst>
        </pc:grpChg>
        <pc:grpChg chg="mod">
          <ac:chgData name="Douglas Daniel Reinoso Peña" userId="60d62e81-f7d7-4b4c-92cc-63fb6a945bb4" providerId="ADAL" clId="{B815062A-1CE0-47B2-B6FA-D2837D2FEAA4}" dt="2024-11-19T12:37:46.768" v="1412" actId="2711"/>
          <ac:grpSpMkLst>
            <pc:docMk/>
            <pc:sldMk cId="2912802757" sldId="2147476189"/>
            <ac:grpSpMk id="49" creationId="{1D22B7A5-A246-407E-1A6B-030A68A6A56B}"/>
          </ac:grpSpMkLst>
        </pc:grpChg>
        <pc:graphicFrameChg chg="mod">
          <ac:chgData name="Douglas Daniel Reinoso Peña" userId="60d62e81-f7d7-4b4c-92cc-63fb6a945bb4" providerId="ADAL" clId="{B815062A-1CE0-47B2-B6FA-D2837D2FEAA4}" dt="2024-11-19T12:37:25.750" v="1386"/>
          <ac:graphicFrameMkLst>
            <pc:docMk/>
            <pc:sldMk cId="2912802757" sldId="2147476189"/>
            <ac:graphicFrameMk id="5" creationId="{8697A396-A3B6-110A-0A7B-F7A6F318D512}"/>
          </ac:graphicFrameMkLst>
        </pc:graphicFrameChg>
        <pc:picChg chg="del mod">
          <ac:chgData name="Douglas Daniel Reinoso Peña" userId="60d62e81-f7d7-4b4c-92cc-63fb6a945bb4" providerId="ADAL" clId="{B815062A-1CE0-47B2-B6FA-D2837D2FEAA4}" dt="2024-11-19T14:10:11.733" v="3919" actId="478"/>
          <ac:picMkLst>
            <pc:docMk/>
            <pc:sldMk cId="2912802757" sldId="2147476189"/>
            <ac:picMk id="7" creationId="{BCA105F3-D31B-341A-D407-7AEE81E991A8}"/>
          </ac:picMkLst>
        </pc:picChg>
        <pc:picChg chg="mod">
          <ac:chgData name="Douglas Daniel Reinoso Peña" userId="60d62e81-f7d7-4b4c-92cc-63fb6a945bb4" providerId="ADAL" clId="{B815062A-1CE0-47B2-B6FA-D2837D2FEAA4}" dt="2024-11-19T15:08:15.738" v="4842" actId="14100"/>
          <ac:picMkLst>
            <pc:docMk/>
            <pc:sldMk cId="2912802757" sldId="2147476189"/>
            <ac:picMk id="17" creationId="{A9B7618A-51D5-BEBA-1766-D9CFA7A7E50B}"/>
          </ac:picMkLst>
        </pc:picChg>
        <pc:picChg chg="mod">
          <ac:chgData name="Douglas Daniel Reinoso Peña" userId="60d62e81-f7d7-4b4c-92cc-63fb6a945bb4" providerId="ADAL" clId="{B815062A-1CE0-47B2-B6FA-D2837D2FEAA4}" dt="2024-11-19T12:38:19.411" v="1439" actId="1035"/>
          <ac:picMkLst>
            <pc:docMk/>
            <pc:sldMk cId="2912802757" sldId="2147476189"/>
            <ac:picMk id="25" creationId="{2612198E-1A2B-71D2-B7DF-A394F9DB4CF7}"/>
          </ac:picMkLst>
        </pc:picChg>
      </pc:sldChg>
      <pc:sldChg chg="del mod modShow">
        <pc:chgData name="Douglas Daniel Reinoso Peña" userId="60d62e81-f7d7-4b4c-92cc-63fb6a945bb4" providerId="ADAL" clId="{B815062A-1CE0-47B2-B6FA-D2837D2FEAA4}" dt="2024-11-20T13:07:40.687" v="6715" actId="47"/>
        <pc:sldMkLst>
          <pc:docMk/>
          <pc:sldMk cId="1604937520" sldId="2147476194"/>
        </pc:sldMkLst>
      </pc:sldChg>
      <pc:sldChg chg="del mod modShow">
        <pc:chgData name="Douglas Daniel Reinoso Peña" userId="60d62e81-f7d7-4b4c-92cc-63fb6a945bb4" providerId="ADAL" clId="{B815062A-1CE0-47B2-B6FA-D2837D2FEAA4}" dt="2024-11-20T13:07:40.687" v="6715" actId="47"/>
        <pc:sldMkLst>
          <pc:docMk/>
          <pc:sldMk cId="2198102315" sldId="2147476196"/>
        </pc:sldMkLst>
      </pc:sldChg>
      <pc:sldChg chg="addSp delSp modSp add del mod modClrScheme modShow chgLayout">
        <pc:chgData name="Douglas Daniel Reinoso Peña" userId="60d62e81-f7d7-4b4c-92cc-63fb6a945bb4" providerId="ADAL" clId="{B815062A-1CE0-47B2-B6FA-D2837D2FEAA4}" dt="2024-11-19T14:36:10.799" v="4504" actId="47"/>
        <pc:sldMkLst>
          <pc:docMk/>
          <pc:sldMk cId="713022554" sldId="2147476282"/>
        </pc:sldMkLst>
        <pc:spChg chg="del">
          <ac:chgData name="Douglas Daniel Reinoso Peña" userId="60d62e81-f7d7-4b4c-92cc-63fb6a945bb4" providerId="ADAL" clId="{B815062A-1CE0-47B2-B6FA-D2837D2FEAA4}" dt="2024-11-18T20:58:24.539" v="15" actId="478"/>
          <ac:spMkLst>
            <pc:docMk/>
            <pc:sldMk cId="713022554" sldId="2147476282"/>
            <ac:spMk id="2" creationId="{4A279FEC-FA7B-C237-ACCC-2A96930C70EB}"/>
          </ac:spMkLst>
        </pc:spChg>
        <pc:spChg chg="add mod ord">
          <ac:chgData name="Douglas Daniel Reinoso Peña" userId="60d62e81-f7d7-4b4c-92cc-63fb6a945bb4" providerId="ADAL" clId="{B815062A-1CE0-47B2-B6FA-D2837D2FEAA4}" dt="2024-11-18T20:58:30.617" v="78" actId="948"/>
          <ac:spMkLst>
            <pc:docMk/>
            <pc:sldMk cId="713022554" sldId="2147476282"/>
            <ac:spMk id="6" creationId="{9C5A5D1A-C987-7C34-E0CC-0349D4972E5A}"/>
          </ac:spMkLst>
        </pc:spChg>
        <pc:spChg chg="add del mod modVis">
          <ac:chgData name="Douglas Daniel Reinoso Peña" userId="60d62e81-f7d7-4b4c-92cc-63fb6a945bb4" providerId="ADAL" clId="{B815062A-1CE0-47B2-B6FA-D2837D2FEAA4}" dt="2024-11-18T20:58:28.886" v="74"/>
          <ac:spMkLst>
            <pc:docMk/>
            <pc:sldMk cId="713022554" sldId="2147476282"/>
            <ac:spMk id="8" creationId="{E1BBA1C2-0DD0-6EFC-D020-3064BE465FA4}"/>
          </ac:spMkLst>
        </pc:spChg>
        <pc:spChg chg="add del mod modVis">
          <ac:chgData name="Douglas Daniel Reinoso Peña" userId="60d62e81-f7d7-4b4c-92cc-63fb6a945bb4" providerId="ADAL" clId="{B815062A-1CE0-47B2-B6FA-D2837D2FEAA4}" dt="2024-11-18T20:58:30.658" v="99"/>
          <ac:spMkLst>
            <pc:docMk/>
            <pc:sldMk cId="713022554" sldId="2147476282"/>
            <ac:spMk id="9" creationId="{AE766D45-2624-F7C0-DAD5-10CACDCFA885}"/>
          </ac:spMkLst>
        </pc:spChg>
        <pc:graphicFrameChg chg="mod">
          <ac:chgData name="Douglas Daniel Reinoso Peña" userId="60d62e81-f7d7-4b4c-92cc-63fb6a945bb4" providerId="ADAL" clId="{B815062A-1CE0-47B2-B6FA-D2837D2FEAA4}" dt="2024-11-18T20:58:30.661" v="101"/>
          <ac:graphicFrameMkLst>
            <pc:docMk/>
            <pc:sldMk cId="713022554" sldId="2147476282"/>
            <ac:graphicFrameMk id="5" creationId="{8BE3E639-F917-A4E8-6460-8763A4EFA62D}"/>
          </ac:graphicFrameMkLst>
        </pc:graphicFrameChg>
      </pc:sldChg>
      <pc:sldChg chg="addSp modSp del mod ord modClrScheme chgLayout">
        <pc:chgData name="Douglas Daniel Reinoso Peña" userId="60d62e81-f7d7-4b4c-92cc-63fb6a945bb4" providerId="ADAL" clId="{B815062A-1CE0-47B2-B6FA-D2837D2FEAA4}" dt="2024-11-19T14:36:21.318" v="4506" actId="47"/>
        <pc:sldMkLst>
          <pc:docMk/>
          <pc:sldMk cId="2950618948" sldId="2147476665"/>
        </pc:sldMkLst>
        <pc:spChg chg="add mod ord">
          <ac:chgData name="Douglas Daniel Reinoso Peña" userId="60d62e81-f7d7-4b4c-92cc-63fb6a945bb4" providerId="ADAL" clId="{B815062A-1CE0-47B2-B6FA-D2837D2FEAA4}" dt="2024-11-18T21:00:46.912" v="104" actId="700"/>
          <ac:spMkLst>
            <pc:docMk/>
            <pc:sldMk cId="2950618948" sldId="2147476665"/>
            <ac:spMk id="2" creationId="{94881D3C-626C-B007-D6E2-47F548C3C70F}"/>
          </ac:spMkLst>
        </pc:spChg>
      </pc:sldChg>
      <pc:sldChg chg="del mod modShow">
        <pc:chgData name="Douglas Daniel Reinoso Peña" userId="60d62e81-f7d7-4b4c-92cc-63fb6a945bb4" providerId="ADAL" clId="{B815062A-1CE0-47B2-B6FA-D2837D2FEAA4}" dt="2024-11-20T13:07:40.687" v="6715" actId="47"/>
        <pc:sldMkLst>
          <pc:docMk/>
          <pc:sldMk cId="1776227108" sldId="2147476666"/>
        </pc:sldMkLst>
      </pc:sldChg>
      <pc:sldChg chg="addSp delSp modSp mod ord modClrScheme chgLayout">
        <pc:chgData name="Douglas Daniel Reinoso Peña" userId="60d62e81-f7d7-4b4c-92cc-63fb6a945bb4" providerId="ADAL" clId="{B815062A-1CE0-47B2-B6FA-D2837D2FEAA4}" dt="2024-11-19T15:06:57.460" v="4839" actId="1076"/>
        <pc:sldMkLst>
          <pc:docMk/>
          <pc:sldMk cId="3481004786" sldId="2147476667"/>
        </pc:sldMkLst>
        <pc:spChg chg="add mod ord">
          <ac:chgData name="Douglas Daniel Reinoso Peña" userId="60d62e81-f7d7-4b4c-92cc-63fb6a945bb4" providerId="ADAL" clId="{B815062A-1CE0-47B2-B6FA-D2837D2FEAA4}" dt="2024-11-19T12:53:27.937" v="1906"/>
          <ac:spMkLst>
            <pc:docMk/>
            <pc:sldMk cId="3481004786" sldId="2147476667"/>
            <ac:spMk id="2" creationId="{95002FBC-5908-CFF2-9693-7E72911BD50B}"/>
          </ac:spMkLst>
        </pc:spChg>
        <pc:spChg chg="add del mod modVis">
          <ac:chgData name="Douglas Daniel Reinoso Peña" userId="60d62e81-f7d7-4b4c-92cc-63fb6a945bb4" providerId="ADAL" clId="{B815062A-1CE0-47B2-B6FA-D2837D2FEAA4}" dt="2024-11-19T12:46:53.982" v="1506"/>
          <ac:spMkLst>
            <pc:docMk/>
            <pc:sldMk cId="3481004786" sldId="2147476667"/>
            <ac:spMk id="4" creationId="{94DACBFD-0B9F-23B4-6509-75493B7D5A30}"/>
          </ac:spMkLst>
        </pc:spChg>
        <pc:spChg chg="add del mod modVis">
          <ac:chgData name="Douglas Daniel Reinoso Peña" userId="60d62e81-f7d7-4b4c-92cc-63fb6a945bb4" providerId="ADAL" clId="{B815062A-1CE0-47B2-B6FA-D2837D2FEAA4}" dt="2024-11-19T12:46:56.757" v="1535"/>
          <ac:spMkLst>
            <pc:docMk/>
            <pc:sldMk cId="3481004786" sldId="2147476667"/>
            <ac:spMk id="5" creationId="{117CE86E-DC4D-B9C8-952E-E4CC0BBF04CB}"/>
          </ac:spMkLst>
        </pc:spChg>
        <pc:spChg chg="add mod ord">
          <ac:chgData name="Douglas Daniel Reinoso Peña" userId="60d62e81-f7d7-4b4c-92cc-63fb6a945bb4" providerId="ADAL" clId="{B815062A-1CE0-47B2-B6FA-D2837D2FEAA4}" dt="2024-11-19T15:06:11.870" v="4833" actId="2711"/>
          <ac:spMkLst>
            <pc:docMk/>
            <pc:sldMk cId="3481004786" sldId="2147476667"/>
            <ac:spMk id="6" creationId="{C7A1D62C-A4CE-4926-84B8-B5E2CCBBC7D1}"/>
          </ac:spMkLst>
        </pc:spChg>
        <pc:spChg chg="mod ord">
          <ac:chgData name="Douglas Daniel Reinoso Peña" userId="60d62e81-f7d7-4b4c-92cc-63fb6a945bb4" providerId="ADAL" clId="{B815062A-1CE0-47B2-B6FA-D2837D2FEAA4}" dt="2024-11-19T15:06:11.870" v="4833" actId="2711"/>
          <ac:spMkLst>
            <pc:docMk/>
            <pc:sldMk cId="3481004786" sldId="2147476667"/>
            <ac:spMk id="10" creationId="{101FD2D6-DD2C-3452-5307-7C79A33BBA3E}"/>
          </ac:spMkLst>
        </pc:spChg>
        <pc:spChg chg="mod ord">
          <ac:chgData name="Douglas Daniel Reinoso Peña" userId="60d62e81-f7d7-4b4c-92cc-63fb6a945bb4" providerId="ADAL" clId="{B815062A-1CE0-47B2-B6FA-D2837D2FEAA4}" dt="2024-11-19T15:06:18.880" v="4834" actId="14100"/>
          <ac:spMkLst>
            <pc:docMk/>
            <pc:sldMk cId="3481004786" sldId="2147476667"/>
            <ac:spMk id="11" creationId="{99673C57-84AB-7ABE-BEDA-69FC9507DB9C}"/>
          </ac:spMkLst>
        </pc:spChg>
        <pc:spChg chg="mod ord">
          <ac:chgData name="Douglas Daniel Reinoso Peña" userId="60d62e81-f7d7-4b4c-92cc-63fb6a945bb4" providerId="ADAL" clId="{B815062A-1CE0-47B2-B6FA-D2837D2FEAA4}" dt="2024-11-19T15:06:11.870" v="4833" actId="2711"/>
          <ac:spMkLst>
            <pc:docMk/>
            <pc:sldMk cId="3481004786" sldId="2147476667"/>
            <ac:spMk id="12" creationId="{8AEF77BB-2B03-893F-0661-253BD8F09828}"/>
          </ac:spMkLst>
        </pc:spChg>
        <pc:spChg chg="del">
          <ac:chgData name="Douglas Daniel Reinoso Peña" userId="60d62e81-f7d7-4b4c-92cc-63fb6a945bb4" providerId="ADAL" clId="{B815062A-1CE0-47B2-B6FA-D2837D2FEAA4}" dt="2024-11-19T12:46:59.184" v="1538" actId="478"/>
          <ac:spMkLst>
            <pc:docMk/>
            <pc:sldMk cId="3481004786" sldId="2147476667"/>
            <ac:spMk id="28" creationId="{BD9E9F46-818E-3A84-E6FA-2D7B792808C8}"/>
          </ac:spMkLst>
        </pc:spChg>
        <pc:spChg chg="del">
          <ac:chgData name="Douglas Daniel Reinoso Peña" userId="60d62e81-f7d7-4b4c-92cc-63fb6a945bb4" providerId="ADAL" clId="{B815062A-1CE0-47B2-B6FA-D2837D2FEAA4}" dt="2024-11-19T12:47:11.797" v="1539" actId="478"/>
          <ac:spMkLst>
            <pc:docMk/>
            <pc:sldMk cId="3481004786" sldId="2147476667"/>
            <ac:spMk id="29" creationId="{3378996D-724D-BDD0-5FF8-288EC4320A0F}"/>
          </ac:spMkLst>
        </pc:spChg>
        <pc:spChg chg="add mod ord">
          <ac:chgData name="Douglas Daniel Reinoso Peña" userId="60d62e81-f7d7-4b4c-92cc-63fb6a945bb4" providerId="ADAL" clId="{B815062A-1CE0-47B2-B6FA-D2837D2FEAA4}" dt="2024-11-19T15:06:11.870" v="4833" actId="2711"/>
          <ac:spMkLst>
            <pc:docMk/>
            <pc:sldMk cId="3481004786" sldId="2147476667"/>
            <ac:spMk id="32" creationId="{577A3052-A502-8F9A-C876-C09BC2FC920A}"/>
          </ac:spMkLst>
        </pc:spChg>
        <pc:spChg chg="add mod">
          <ac:chgData name="Douglas Daniel Reinoso Peña" userId="60d62e81-f7d7-4b4c-92cc-63fb6a945bb4" providerId="ADAL" clId="{B815062A-1CE0-47B2-B6FA-D2837D2FEAA4}" dt="2024-11-19T15:06:11.870" v="4833" actId="2711"/>
          <ac:spMkLst>
            <pc:docMk/>
            <pc:sldMk cId="3481004786" sldId="2147476667"/>
            <ac:spMk id="33" creationId="{CEF57471-20A5-6DE3-ABE6-566BCCE20E90}"/>
          </ac:spMkLst>
        </pc:spChg>
        <pc:spChg chg="del mod ord topLvl">
          <ac:chgData name="Douglas Daniel Reinoso Peña" userId="60d62e81-f7d7-4b4c-92cc-63fb6a945bb4" providerId="ADAL" clId="{B815062A-1CE0-47B2-B6FA-D2837D2FEAA4}" dt="2024-11-19T12:54:39.960" v="1944" actId="478"/>
          <ac:spMkLst>
            <pc:docMk/>
            <pc:sldMk cId="3481004786" sldId="2147476667"/>
            <ac:spMk id="60" creationId="{11FE89D8-DAF9-A657-7E73-F03EB1BEA748}"/>
          </ac:spMkLst>
        </pc:spChg>
        <pc:spChg chg="mod">
          <ac:chgData name="Douglas Daniel Reinoso Peña" userId="60d62e81-f7d7-4b4c-92cc-63fb6a945bb4" providerId="ADAL" clId="{B815062A-1CE0-47B2-B6FA-D2837D2FEAA4}" dt="2024-11-19T15:06:11.870" v="4833" actId="2711"/>
          <ac:spMkLst>
            <pc:docMk/>
            <pc:sldMk cId="3481004786" sldId="2147476667"/>
            <ac:spMk id="80" creationId="{CBCFD3BD-9CC5-D4F2-F2FC-BC0209CF20D5}"/>
          </ac:spMkLst>
        </pc:spChg>
        <pc:spChg chg="mod">
          <ac:chgData name="Douglas Daniel Reinoso Peña" userId="60d62e81-f7d7-4b4c-92cc-63fb6a945bb4" providerId="ADAL" clId="{B815062A-1CE0-47B2-B6FA-D2837D2FEAA4}" dt="2024-11-19T15:06:11.870" v="4833" actId="2711"/>
          <ac:spMkLst>
            <pc:docMk/>
            <pc:sldMk cId="3481004786" sldId="2147476667"/>
            <ac:spMk id="81" creationId="{21A01426-5631-9071-57E9-8F98459A64A1}"/>
          </ac:spMkLst>
        </pc:spChg>
        <pc:spChg chg="mod">
          <ac:chgData name="Douglas Daniel Reinoso Peña" userId="60d62e81-f7d7-4b4c-92cc-63fb6a945bb4" providerId="ADAL" clId="{B815062A-1CE0-47B2-B6FA-D2837D2FEAA4}" dt="2024-11-19T15:06:36.270" v="4836" actId="1076"/>
          <ac:spMkLst>
            <pc:docMk/>
            <pc:sldMk cId="3481004786" sldId="2147476667"/>
            <ac:spMk id="82" creationId="{A422A7AF-2C91-6B5B-BE4E-80AC99DA1DFE}"/>
          </ac:spMkLst>
        </pc:spChg>
        <pc:spChg chg="mod topLvl">
          <ac:chgData name="Douglas Daniel Reinoso Peña" userId="60d62e81-f7d7-4b4c-92cc-63fb6a945bb4" providerId="ADAL" clId="{B815062A-1CE0-47B2-B6FA-D2837D2FEAA4}" dt="2024-11-19T15:06:11.870" v="4833" actId="2711"/>
          <ac:spMkLst>
            <pc:docMk/>
            <pc:sldMk cId="3481004786" sldId="2147476667"/>
            <ac:spMk id="88" creationId="{7CAB9117-3979-8308-46BF-C5056930AE13}"/>
          </ac:spMkLst>
        </pc:spChg>
        <pc:spChg chg="mod ord topLvl">
          <ac:chgData name="Douglas Daniel Reinoso Peña" userId="60d62e81-f7d7-4b4c-92cc-63fb6a945bb4" providerId="ADAL" clId="{B815062A-1CE0-47B2-B6FA-D2837D2FEAA4}" dt="2024-11-19T15:06:11.870" v="4833" actId="2711"/>
          <ac:spMkLst>
            <pc:docMk/>
            <pc:sldMk cId="3481004786" sldId="2147476667"/>
            <ac:spMk id="90" creationId="{81174188-BF2A-D669-C6E0-5B1E05C8F339}"/>
          </ac:spMkLst>
        </pc:spChg>
        <pc:spChg chg="mod ord topLvl">
          <ac:chgData name="Douglas Daniel Reinoso Peña" userId="60d62e81-f7d7-4b4c-92cc-63fb6a945bb4" providerId="ADAL" clId="{B815062A-1CE0-47B2-B6FA-D2837D2FEAA4}" dt="2024-11-19T15:06:11.870" v="4833" actId="2711"/>
          <ac:spMkLst>
            <pc:docMk/>
            <pc:sldMk cId="3481004786" sldId="2147476667"/>
            <ac:spMk id="91" creationId="{55E1064E-4676-142A-4107-B172257AC19D}"/>
          </ac:spMkLst>
        </pc:spChg>
        <pc:spChg chg="mod topLvl">
          <ac:chgData name="Douglas Daniel Reinoso Peña" userId="60d62e81-f7d7-4b4c-92cc-63fb6a945bb4" providerId="ADAL" clId="{B815062A-1CE0-47B2-B6FA-D2837D2FEAA4}" dt="2024-11-19T15:06:11.870" v="4833" actId="2711"/>
          <ac:spMkLst>
            <pc:docMk/>
            <pc:sldMk cId="3481004786" sldId="2147476667"/>
            <ac:spMk id="94" creationId="{763E7175-D018-9821-0EF1-27246BAA4D4B}"/>
          </ac:spMkLst>
        </pc:spChg>
        <pc:spChg chg="mod topLvl">
          <ac:chgData name="Douglas Daniel Reinoso Peña" userId="60d62e81-f7d7-4b4c-92cc-63fb6a945bb4" providerId="ADAL" clId="{B815062A-1CE0-47B2-B6FA-D2837D2FEAA4}" dt="2024-11-19T15:06:57.460" v="4839" actId="1076"/>
          <ac:spMkLst>
            <pc:docMk/>
            <pc:sldMk cId="3481004786" sldId="2147476667"/>
            <ac:spMk id="95" creationId="{779FAFCF-A8C6-51A4-FB3C-A5BB971EE682}"/>
          </ac:spMkLst>
        </pc:spChg>
        <pc:spChg chg="mod ord topLvl">
          <ac:chgData name="Douglas Daniel Reinoso Peña" userId="60d62e81-f7d7-4b4c-92cc-63fb6a945bb4" providerId="ADAL" clId="{B815062A-1CE0-47B2-B6FA-D2837D2FEAA4}" dt="2024-11-19T15:06:53.163" v="4838" actId="1076"/>
          <ac:spMkLst>
            <pc:docMk/>
            <pc:sldMk cId="3481004786" sldId="2147476667"/>
            <ac:spMk id="96" creationId="{CD368738-FEE2-932D-BE89-9471062B81A5}"/>
          </ac:spMkLst>
        </pc:spChg>
        <pc:spChg chg="mod ord topLvl">
          <ac:chgData name="Douglas Daniel Reinoso Peña" userId="60d62e81-f7d7-4b4c-92cc-63fb6a945bb4" providerId="ADAL" clId="{B815062A-1CE0-47B2-B6FA-D2837D2FEAA4}" dt="2024-11-19T15:06:48.938" v="4837" actId="1076"/>
          <ac:spMkLst>
            <pc:docMk/>
            <pc:sldMk cId="3481004786" sldId="2147476667"/>
            <ac:spMk id="102" creationId="{B87F0CAB-041B-0766-1F5F-6B7C9CCFA56D}"/>
          </ac:spMkLst>
        </pc:spChg>
        <pc:spChg chg="mod topLvl">
          <ac:chgData name="Douglas Daniel Reinoso Peña" userId="60d62e81-f7d7-4b4c-92cc-63fb6a945bb4" providerId="ADAL" clId="{B815062A-1CE0-47B2-B6FA-D2837D2FEAA4}" dt="2024-11-19T15:06:11.870" v="4833" actId="2711"/>
          <ac:spMkLst>
            <pc:docMk/>
            <pc:sldMk cId="3481004786" sldId="2147476667"/>
            <ac:spMk id="117" creationId="{EFFDAEBE-E680-AA6F-0FE1-A0A3AD4D63BE}"/>
          </ac:spMkLst>
        </pc:spChg>
        <pc:spChg chg="mod topLvl">
          <ac:chgData name="Douglas Daniel Reinoso Peña" userId="60d62e81-f7d7-4b4c-92cc-63fb6a945bb4" providerId="ADAL" clId="{B815062A-1CE0-47B2-B6FA-D2837D2FEAA4}" dt="2024-11-19T15:06:11.870" v="4833" actId="2711"/>
          <ac:spMkLst>
            <pc:docMk/>
            <pc:sldMk cId="3481004786" sldId="2147476667"/>
            <ac:spMk id="118" creationId="{52CA2F90-71A0-9972-313B-E769A4DBD7BA}"/>
          </ac:spMkLst>
        </pc:spChg>
        <pc:spChg chg="mod topLvl">
          <ac:chgData name="Douglas Daniel Reinoso Peña" userId="60d62e81-f7d7-4b4c-92cc-63fb6a945bb4" providerId="ADAL" clId="{B815062A-1CE0-47B2-B6FA-D2837D2FEAA4}" dt="2024-11-19T15:06:11.870" v="4833" actId="2711"/>
          <ac:spMkLst>
            <pc:docMk/>
            <pc:sldMk cId="3481004786" sldId="2147476667"/>
            <ac:spMk id="119" creationId="{2D7EA814-03DE-0345-4730-A824E3BC2707}"/>
          </ac:spMkLst>
        </pc:spChg>
        <pc:spChg chg="mod ord topLvl">
          <ac:chgData name="Douglas Daniel Reinoso Peña" userId="60d62e81-f7d7-4b4c-92cc-63fb6a945bb4" providerId="ADAL" clId="{B815062A-1CE0-47B2-B6FA-D2837D2FEAA4}" dt="2024-11-19T15:06:11.870" v="4833" actId="2711"/>
          <ac:spMkLst>
            <pc:docMk/>
            <pc:sldMk cId="3481004786" sldId="2147476667"/>
            <ac:spMk id="160" creationId="{19955BD4-1DC4-D24B-61CD-14BE58EE87F7}"/>
          </ac:spMkLst>
        </pc:spChg>
        <pc:grpChg chg="del">
          <ac:chgData name="Douglas Daniel Reinoso Peña" userId="60d62e81-f7d7-4b4c-92cc-63fb6a945bb4" providerId="ADAL" clId="{B815062A-1CE0-47B2-B6FA-D2837D2FEAA4}" dt="2024-11-19T12:47:44.180" v="1543" actId="165"/>
          <ac:grpSpMkLst>
            <pc:docMk/>
            <pc:sldMk cId="3481004786" sldId="2147476667"/>
            <ac:grpSpMk id="3" creationId="{B6B06035-5F84-9588-EBF8-1A9E43362E3B}"/>
          </ac:grpSpMkLst>
        </pc:grpChg>
        <pc:grpChg chg="add mod ord">
          <ac:chgData name="Douglas Daniel Reinoso Peña" userId="60d62e81-f7d7-4b4c-92cc-63fb6a945bb4" providerId="ADAL" clId="{B815062A-1CE0-47B2-B6FA-D2837D2FEAA4}" dt="2024-11-19T12:53:27.938" v="1910"/>
          <ac:grpSpMkLst>
            <pc:docMk/>
            <pc:sldMk cId="3481004786" sldId="2147476667"/>
            <ac:grpSpMk id="7" creationId="{08D90088-88AC-ED3C-493E-6CAD9252C511}"/>
          </ac:grpSpMkLst>
        </pc:grpChg>
        <pc:grpChg chg="add mod ord">
          <ac:chgData name="Douglas Daniel Reinoso Peña" userId="60d62e81-f7d7-4b4c-92cc-63fb6a945bb4" providerId="ADAL" clId="{B815062A-1CE0-47B2-B6FA-D2837D2FEAA4}" dt="2024-11-19T12:53:27.935" v="1896"/>
          <ac:grpSpMkLst>
            <pc:docMk/>
            <pc:sldMk cId="3481004786" sldId="2147476667"/>
            <ac:grpSpMk id="9" creationId="{E36E6413-757E-80CC-5F67-2E9E34DB76AC}"/>
          </ac:grpSpMkLst>
        </pc:grpChg>
        <pc:grpChg chg="del">
          <ac:chgData name="Douglas Daniel Reinoso Peña" userId="60d62e81-f7d7-4b4c-92cc-63fb6a945bb4" providerId="ADAL" clId="{B815062A-1CE0-47B2-B6FA-D2837D2FEAA4}" dt="2024-11-19T12:45:26.002" v="1479" actId="478"/>
          <ac:grpSpMkLst>
            <pc:docMk/>
            <pc:sldMk cId="3481004786" sldId="2147476667"/>
            <ac:grpSpMk id="13" creationId="{B70BF22D-2A3D-984B-8AFE-E6BAC24C4718}"/>
          </ac:grpSpMkLst>
        </pc:grpChg>
        <pc:grpChg chg="add mod ord">
          <ac:chgData name="Douglas Daniel Reinoso Peña" userId="60d62e81-f7d7-4b4c-92cc-63fb6a945bb4" providerId="ADAL" clId="{B815062A-1CE0-47B2-B6FA-D2837D2FEAA4}" dt="2024-11-19T12:53:27.936" v="1900"/>
          <ac:grpSpMkLst>
            <pc:docMk/>
            <pc:sldMk cId="3481004786" sldId="2147476667"/>
            <ac:grpSpMk id="30" creationId="{D266E97B-E476-9A59-6C5C-6DBE5059ED65}"/>
          </ac:grpSpMkLst>
        </pc:grpChg>
        <pc:grpChg chg="add mod ord">
          <ac:chgData name="Douglas Daniel Reinoso Peña" userId="60d62e81-f7d7-4b4c-92cc-63fb6a945bb4" providerId="ADAL" clId="{B815062A-1CE0-47B2-B6FA-D2837D2FEAA4}" dt="2024-11-19T12:53:27.935" v="1898"/>
          <ac:grpSpMkLst>
            <pc:docMk/>
            <pc:sldMk cId="3481004786" sldId="2147476667"/>
            <ac:grpSpMk id="31" creationId="{181C1458-914E-75AF-4084-C0F1D396378E}"/>
          </ac:grpSpMkLst>
        </pc:grpChg>
        <pc:grpChg chg="mod ord topLvl">
          <ac:chgData name="Douglas Daniel Reinoso Peña" userId="60d62e81-f7d7-4b4c-92cc-63fb6a945bb4" providerId="ADAL" clId="{B815062A-1CE0-47B2-B6FA-D2837D2FEAA4}" dt="2024-11-19T12:53:27.934" v="1894"/>
          <ac:grpSpMkLst>
            <pc:docMk/>
            <pc:sldMk cId="3481004786" sldId="2147476667"/>
            <ac:grpSpMk id="78" creationId="{5CC81945-6651-B72A-B73E-463F0ACE9D98}"/>
          </ac:grpSpMkLst>
        </pc:grpChg>
        <pc:grpChg chg="del mod topLvl">
          <ac:chgData name="Douglas Daniel Reinoso Peña" userId="60d62e81-f7d7-4b4c-92cc-63fb6a945bb4" providerId="ADAL" clId="{B815062A-1CE0-47B2-B6FA-D2837D2FEAA4}" dt="2024-11-19T12:48:18.296" v="1690" actId="165"/>
          <ac:grpSpMkLst>
            <pc:docMk/>
            <pc:sldMk cId="3481004786" sldId="2147476667"/>
            <ac:grpSpMk id="134" creationId="{BCD75913-C6E9-5B36-CF50-A727C8BD6852}"/>
          </ac:grpSpMkLst>
        </pc:grpChg>
        <pc:graphicFrameChg chg="mod">
          <ac:chgData name="Douglas Daniel Reinoso Peña" userId="60d62e81-f7d7-4b4c-92cc-63fb6a945bb4" providerId="ADAL" clId="{B815062A-1CE0-47B2-B6FA-D2837D2FEAA4}" dt="2024-11-19T12:53:27.939" v="1912"/>
          <ac:graphicFrameMkLst>
            <pc:docMk/>
            <pc:sldMk cId="3481004786" sldId="2147476667"/>
            <ac:graphicFrameMk id="8" creationId="{070DE9C5-D599-ED1E-E56B-56A69468E304}"/>
          </ac:graphicFrameMkLst>
        </pc:graphicFrameChg>
        <pc:picChg chg="mod topLvl">
          <ac:chgData name="Douglas Daniel Reinoso Peña" userId="60d62e81-f7d7-4b4c-92cc-63fb6a945bb4" providerId="ADAL" clId="{B815062A-1CE0-47B2-B6FA-D2837D2FEAA4}" dt="2024-11-19T14:11:25.651" v="3937" actId="207"/>
          <ac:picMkLst>
            <pc:docMk/>
            <pc:sldMk cId="3481004786" sldId="2147476667"/>
            <ac:picMk id="121" creationId="{7CE79001-75A3-E2C7-86F2-448D187BEBAF}"/>
          </ac:picMkLst>
        </pc:picChg>
        <pc:picChg chg="mod ord topLvl">
          <ac:chgData name="Douglas Daniel Reinoso Peña" userId="60d62e81-f7d7-4b4c-92cc-63fb6a945bb4" providerId="ADAL" clId="{B815062A-1CE0-47B2-B6FA-D2837D2FEAA4}" dt="2024-11-19T14:11:21.551" v="3936" actId="207"/>
          <ac:picMkLst>
            <pc:docMk/>
            <pc:sldMk cId="3481004786" sldId="2147476667"/>
            <ac:picMk id="123" creationId="{DC5FA204-DC1D-2C8C-8A41-E5799B902121}"/>
          </ac:picMkLst>
        </pc:picChg>
        <pc:picChg chg="mod ord topLvl">
          <ac:chgData name="Douglas Daniel Reinoso Peña" userId="60d62e81-f7d7-4b4c-92cc-63fb6a945bb4" providerId="ADAL" clId="{B815062A-1CE0-47B2-B6FA-D2837D2FEAA4}" dt="2024-11-19T14:11:29.056" v="3938" actId="207"/>
          <ac:picMkLst>
            <pc:docMk/>
            <pc:sldMk cId="3481004786" sldId="2147476667"/>
            <ac:picMk id="125" creationId="{4F096D71-03AF-09C6-8C52-93A54007F102}"/>
          </ac:picMkLst>
        </pc:picChg>
      </pc:sldChg>
      <pc:sldChg chg="del mod modShow">
        <pc:chgData name="Douglas Daniel Reinoso Peña" userId="60d62e81-f7d7-4b4c-92cc-63fb6a945bb4" providerId="ADAL" clId="{B815062A-1CE0-47B2-B6FA-D2837D2FEAA4}" dt="2024-11-20T13:07:40.687" v="6715" actId="47"/>
        <pc:sldMkLst>
          <pc:docMk/>
          <pc:sldMk cId="3836305248" sldId="2147476668"/>
        </pc:sldMkLst>
      </pc:sldChg>
      <pc:sldChg chg="del mod modShow">
        <pc:chgData name="Douglas Daniel Reinoso Peña" userId="60d62e81-f7d7-4b4c-92cc-63fb6a945bb4" providerId="ADAL" clId="{B815062A-1CE0-47B2-B6FA-D2837D2FEAA4}" dt="2024-11-20T13:07:40.687" v="6715" actId="47"/>
        <pc:sldMkLst>
          <pc:docMk/>
          <pc:sldMk cId="11308282" sldId="2147476669"/>
        </pc:sldMkLst>
      </pc:sldChg>
      <pc:sldChg chg="del mod modShow">
        <pc:chgData name="Douglas Daniel Reinoso Peña" userId="60d62e81-f7d7-4b4c-92cc-63fb6a945bb4" providerId="ADAL" clId="{B815062A-1CE0-47B2-B6FA-D2837D2FEAA4}" dt="2024-11-20T13:07:40.687" v="6715" actId="47"/>
        <pc:sldMkLst>
          <pc:docMk/>
          <pc:sldMk cId="1909395406" sldId="2147476670"/>
        </pc:sldMkLst>
      </pc:sldChg>
      <pc:sldChg chg="del">
        <pc:chgData name="Douglas Daniel Reinoso Peña" userId="60d62e81-f7d7-4b4c-92cc-63fb6a945bb4" providerId="ADAL" clId="{B815062A-1CE0-47B2-B6FA-D2837D2FEAA4}" dt="2024-11-20T13:07:40.687" v="6715" actId="47"/>
        <pc:sldMkLst>
          <pc:docMk/>
          <pc:sldMk cId="4254301439" sldId="2147476671"/>
        </pc:sldMkLst>
      </pc:sldChg>
      <pc:sldChg chg="del">
        <pc:chgData name="Douglas Daniel Reinoso Peña" userId="60d62e81-f7d7-4b4c-92cc-63fb6a945bb4" providerId="ADAL" clId="{B815062A-1CE0-47B2-B6FA-D2837D2FEAA4}" dt="2024-11-20T13:07:40.687" v="6715" actId="47"/>
        <pc:sldMkLst>
          <pc:docMk/>
          <pc:sldMk cId="1571301868" sldId="2147476672"/>
        </pc:sldMkLst>
      </pc:sldChg>
      <pc:sldChg chg="del mod modShow">
        <pc:chgData name="Douglas Daniel Reinoso Peña" userId="60d62e81-f7d7-4b4c-92cc-63fb6a945bb4" providerId="ADAL" clId="{B815062A-1CE0-47B2-B6FA-D2837D2FEAA4}" dt="2024-11-20T13:07:40.687" v="6715" actId="47"/>
        <pc:sldMkLst>
          <pc:docMk/>
          <pc:sldMk cId="4177326004" sldId="2147476673"/>
        </pc:sldMkLst>
      </pc:sldChg>
      <pc:sldChg chg="addSp delSp modSp mod ord">
        <pc:chgData name="Douglas Daniel Reinoso Peña" userId="60d62e81-f7d7-4b4c-92cc-63fb6a945bb4" providerId="ADAL" clId="{B815062A-1CE0-47B2-B6FA-D2837D2FEAA4}" dt="2024-11-19T14:55:03.050" v="4762" actId="164"/>
        <pc:sldMkLst>
          <pc:docMk/>
          <pc:sldMk cId="1528397871" sldId="2147476752"/>
        </pc:sldMkLst>
        <pc:spChg chg="mod ord">
          <ac:chgData name="Douglas Daniel Reinoso Peña" userId="60d62e81-f7d7-4b4c-92cc-63fb6a945bb4" providerId="ADAL" clId="{B815062A-1CE0-47B2-B6FA-D2837D2FEAA4}" dt="2024-11-19T14:46:48.649" v="4613"/>
          <ac:spMkLst>
            <pc:docMk/>
            <pc:sldMk cId="1528397871" sldId="2147476752"/>
            <ac:spMk id="2" creationId="{44E28C10-BF50-2EAE-AE0C-B5973A082992}"/>
          </ac:spMkLst>
        </pc:spChg>
        <pc:spChg chg="add del mod modVis">
          <ac:chgData name="Douglas Daniel Reinoso Peña" userId="60d62e81-f7d7-4b4c-92cc-63fb6a945bb4" providerId="ADAL" clId="{B815062A-1CE0-47B2-B6FA-D2837D2FEAA4}" dt="2024-11-19T13:59:55.964" v="3820" actId="962"/>
          <ac:spMkLst>
            <pc:docMk/>
            <pc:sldMk cId="1528397871" sldId="2147476752"/>
            <ac:spMk id="3" creationId="{D7341F6F-AC26-13C4-23FA-40FA56A18A01}"/>
          </ac:spMkLst>
        </pc:spChg>
        <pc:spChg chg="add del mod modVis">
          <ac:chgData name="Douglas Daniel Reinoso Peña" userId="60d62e81-f7d7-4b4c-92cc-63fb6a945bb4" providerId="ADAL" clId="{B815062A-1CE0-47B2-B6FA-D2837D2FEAA4}" dt="2024-11-19T13:59:58.673" v="3847"/>
          <ac:spMkLst>
            <pc:docMk/>
            <pc:sldMk cId="1528397871" sldId="2147476752"/>
            <ac:spMk id="4" creationId="{EC91B705-BDA9-E4BF-DBF0-7949DF062725}"/>
          </ac:spMkLst>
        </pc:spChg>
        <pc:spChg chg="mod ord">
          <ac:chgData name="Douglas Daniel Reinoso Peña" userId="60d62e81-f7d7-4b4c-92cc-63fb6a945bb4" providerId="ADAL" clId="{B815062A-1CE0-47B2-B6FA-D2837D2FEAA4}" dt="2024-11-19T14:46:48.650" v="4615"/>
          <ac:spMkLst>
            <pc:docMk/>
            <pc:sldMk cId="1528397871" sldId="2147476752"/>
            <ac:spMk id="6" creationId="{DE25FF13-7D5A-A412-7F45-7831DD6037AF}"/>
          </ac:spMkLst>
        </pc:spChg>
        <pc:spChg chg="mod ord">
          <ac:chgData name="Douglas Daniel Reinoso Peña" userId="60d62e81-f7d7-4b4c-92cc-63fb6a945bb4" providerId="ADAL" clId="{B815062A-1CE0-47B2-B6FA-D2837D2FEAA4}" dt="2024-11-19T14:46:48.650" v="4617"/>
          <ac:spMkLst>
            <pc:docMk/>
            <pc:sldMk cId="1528397871" sldId="2147476752"/>
            <ac:spMk id="7" creationId="{5B74ABB0-7389-C27E-E75C-9496E71E562A}"/>
          </ac:spMkLst>
        </pc:spChg>
        <pc:spChg chg="mod ord">
          <ac:chgData name="Douglas Daniel Reinoso Peña" userId="60d62e81-f7d7-4b4c-92cc-63fb6a945bb4" providerId="ADAL" clId="{B815062A-1CE0-47B2-B6FA-D2837D2FEAA4}" dt="2024-11-19T14:55:03.050" v="4762" actId="164"/>
          <ac:spMkLst>
            <pc:docMk/>
            <pc:sldMk cId="1528397871" sldId="2147476752"/>
            <ac:spMk id="8" creationId="{11D5CC3F-46E3-180A-E511-794BDCBBA33B}"/>
          </ac:spMkLst>
        </pc:spChg>
        <pc:spChg chg="mod ord">
          <ac:chgData name="Douglas Daniel Reinoso Peña" userId="60d62e81-f7d7-4b4c-92cc-63fb6a945bb4" providerId="ADAL" clId="{B815062A-1CE0-47B2-B6FA-D2837D2FEAA4}" dt="2024-11-19T14:54:46.972" v="4760" actId="164"/>
          <ac:spMkLst>
            <pc:docMk/>
            <pc:sldMk cId="1528397871" sldId="2147476752"/>
            <ac:spMk id="9" creationId="{936F9460-CBDF-79C4-2241-88F551E69960}"/>
          </ac:spMkLst>
        </pc:spChg>
        <pc:spChg chg="mod ord">
          <ac:chgData name="Douglas Daniel Reinoso Peña" userId="60d62e81-f7d7-4b4c-92cc-63fb6a945bb4" providerId="ADAL" clId="{B815062A-1CE0-47B2-B6FA-D2837D2FEAA4}" dt="2024-11-19T14:54:54.454" v="4761" actId="164"/>
          <ac:spMkLst>
            <pc:docMk/>
            <pc:sldMk cId="1528397871" sldId="2147476752"/>
            <ac:spMk id="10" creationId="{9F18439D-73EC-D9AC-4D79-752FF9E16D3C}"/>
          </ac:spMkLst>
        </pc:spChg>
        <pc:spChg chg="mod ord">
          <ac:chgData name="Douglas Daniel Reinoso Peña" userId="60d62e81-f7d7-4b4c-92cc-63fb6a945bb4" providerId="ADAL" clId="{B815062A-1CE0-47B2-B6FA-D2837D2FEAA4}" dt="2024-11-19T14:55:03.050" v="4762" actId="164"/>
          <ac:spMkLst>
            <pc:docMk/>
            <pc:sldMk cId="1528397871" sldId="2147476752"/>
            <ac:spMk id="11" creationId="{9CDCD830-3579-AC79-CDBE-BA0363A9DD69}"/>
          </ac:spMkLst>
        </pc:spChg>
        <pc:spChg chg="mod ord">
          <ac:chgData name="Douglas Daniel Reinoso Peña" userId="60d62e81-f7d7-4b4c-92cc-63fb6a945bb4" providerId="ADAL" clId="{B815062A-1CE0-47B2-B6FA-D2837D2FEAA4}" dt="2024-11-19T14:54:54.454" v="4761" actId="164"/>
          <ac:spMkLst>
            <pc:docMk/>
            <pc:sldMk cId="1528397871" sldId="2147476752"/>
            <ac:spMk id="12" creationId="{80FE30E6-2301-F9B6-7B9C-06628B71F1E4}"/>
          </ac:spMkLst>
        </pc:spChg>
        <pc:spChg chg="mod ord">
          <ac:chgData name="Douglas Daniel Reinoso Peña" userId="60d62e81-f7d7-4b4c-92cc-63fb6a945bb4" providerId="ADAL" clId="{B815062A-1CE0-47B2-B6FA-D2837D2FEAA4}" dt="2024-11-19T14:54:46.972" v="4760" actId="164"/>
          <ac:spMkLst>
            <pc:docMk/>
            <pc:sldMk cId="1528397871" sldId="2147476752"/>
            <ac:spMk id="13" creationId="{D66C96E1-03F4-0A7C-8ADB-F04854ED9F7E}"/>
          </ac:spMkLst>
        </pc:spChg>
        <pc:spChg chg="mod ord">
          <ac:chgData name="Douglas Daniel Reinoso Peña" userId="60d62e81-f7d7-4b4c-92cc-63fb6a945bb4" providerId="ADAL" clId="{B815062A-1CE0-47B2-B6FA-D2837D2FEAA4}" dt="2024-11-19T14:54:46.972" v="4760" actId="164"/>
          <ac:spMkLst>
            <pc:docMk/>
            <pc:sldMk cId="1528397871" sldId="2147476752"/>
            <ac:spMk id="14" creationId="{82AAC73C-4FB2-5700-3CD7-5C5BD6AB994A}"/>
          </ac:spMkLst>
        </pc:spChg>
        <pc:spChg chg="mod ord">
          <ac:chgData name="Douglas Daniel Reinoso Peña" userId="60d62e81-f7d7-4b4c-92cc-63fb6a945bb4" providerId="ADAL" clId="{B815062A-1CE0-47B2-B6FA-D2837D2FEAA4}" dt="2024-11-19T14:55:03.050" v="4762" actId="164"/>
          <ac:spMkLst>
            <pc:docMk/>
            <pc:sldMk cId="1528397871" sldId="2147476752"/>
            <ac:spMk id="15" creationId="{AFDB0360-59F5-D5EE-45A7-12C4BAD0877F}"/>
          </ac:spMkLst>
        </pc:spChg>
        <pc:spChg chg="mod ord">
          <ac:chgData name="Douglas Daniel Reinoso Peña" userId="60d62e81-f7d7-4b4c-92cc-63fb6a945bb4" providerId="ADAL" clId="{B815062A-1CE0-47B2-B6FA-D2837D2FEAA4}" dt="2024-11-19T14:54:54.454" v="4761" actId="164"/>
          <ac:spMkLst>
            <pc:docMk/>
            <pc:sldMk cId="1528397871" sldId="2147476752"/>
            <ac:spMk id="16" creationId="{06CAA99B-732D-2A8B-5581-5491212A26A5}"/>
          </ac:spMkLst>
        </pc:spChg>
        <pc:spChg chg="mod ord">
          <ac:chgData name="Douglas Daniel Reinoso Peña" userId="60d62e81-f7d7-4b4c-92cc-63fb6a945bb4" providerId="ADAL" clId="{B815062A-1CE0-47B2-B6FA-D2837D2FEAA4}" dt="2024-11-19T14:54:54.454" v="4761" actId="164"/>
          <ac:spMkLst>
            <pc:docMk/>
            <pc:sldMk cId="1528397871" sldId="2147476752"/>
            <ac:spMk id="17" creationId="{93D12691-7D8F-0CEA-AFF1-275244FD9D79}"/>
          </ac:spMkLst>
        </pc:spChg>
        <pc:spChg chg="mod ord">
          <ac:chgData name="Douglas Daniel Reinoso Peña" userId="60d62e81-f7d7-4b4c-92cc-63fb6a945bb4" providerId="ADAL" clId="{B815062A-1CE0-47B2-B6FA-D2837D2FEAA4}" dt="2024-11-19T14:54:54.454" v="4761" actId="164"/>
          <ac:spMkLst>
            <pc:docMk/>
            <pc:sldMk cId="1528397871" sldId="2147476752"/>
            <ac:spMk id="18" creationId="{CE07F0F5-E2D2-7B3E-E057-FACFB3C7DE07}"/>
          </ac:spMkLst>
        </pc:spChg>
        <pc:spChg chg="mod ord">
          <ac:chgData name="Douglas Daniel Reinoso Peña" userId="60d62e81-f7d7-4b4c-92cc-63fb6a945bb4" providerId="ADAL" clId="{B815062A-1CE0-47B2-B6FA-D2837D2FEAA4}" dt="2024-11-19T14:55:03.050" v="4762" actId="164"/>
          <ac:spMkLst>
            <pc:docMk/>
            <pc:sldMk cId="1528397871" sldId="2147476752"/>
            <ac:spMk id="19" creationId="{D0A45511-8CB1-310A-7060-FCFF6CD314E7}"/>
          </ac:spMkLst>
        </pc:spChg>
        <pc:spChg chg="mod ord">
          <ac:chgData name="Douglas Daniel Reinoso Peña" userId="60d62e81-f7d7-4b4c-92cc-63fb6a945bb4" providerId="ADAL" clId="{B815062A-1CE0-47B2-B6FA-D2837D2FEAA4}" dt="2024-11-19T14:55:03.050" v="4762" actId="164"/>
          <ac:spMkLst>
            <pc:docMk/>
            <pc:sldMk cId="1528397871" sldId="2147476752"/>
            <ac:spMk id="20" creationId="{05F2E712-7523-A6F2-FEB7-49C4493CD9D2}"/>
          </ac:spMkLst>
        </pc:spChg>
        <pc:spChg chg="mod ord">
          <ac:chgData name="Douglas Daniel Reinoso Peña" userId="60d62e81-f7d7-4b4c-92cc-63fb6a945bb4" providerId="ADAL" clId="{B815062A-1CE0-47B2-B6FA-D2837D2FEAA4}" dt="2024-11-19T14:54:54.454" v="4761" actId="164"/>
          <ac:spMkLst>
            <pc:docMk/>
            <pc:sldMk cId="1528397871" sldId="2147476752"/>
            <ac:spMk id="21" creationId="{A22FCBD8-9CDA-5FE0-2DC5-DCC9A5E2E97F}"/>
          </ac:spMkLst>
        </pc:spChg>
        <pc:spChg chg="mod">
          <ac:chgData name="Douglas Daniel Reinoso Peña" userId="60d62e81-f7d7-4b4c-92cc-63fb6a945bb4" providerId="ADAL" clId="{B815062A-1CE0-47B2-B6FA-D2837D2FEAA4}" dt="2024-11-19T14:13:45.918" v="4133" actId="207"/>
          <ac:spMkLst>
            <pc:docMk/>
            <pc:sldMk cId="1528397871" sldId="2147476752"/>
            <ac:spMk id="24" creationId="{22798F30-F615-4F7F-83E7-76CAAC95C38A}"/>
          </ac:spMkLst>
        </pc:spChg>
        <pc:spChg chg="mod">
          <ac:chgData name="Douglas Daniel Reinoso Peña" userId="60d62e81-f7d7-4b4c-92cc-63fb6a945bb4" providerId="ADAL" clId="{B815062A-1CE0-47B2-B6FA-D2837D2FEAA4}" dt="2024-11-19T14:13:43.020" v="4132" actId="207"/>
          <ac:spMkLst>
            <pc:docMk/>
            <pc:sldMk cId="1528397871" sldId="2147476752"/>
            <ac:spMk id="29" creationId="{9AF953AD-20C2-FF0D-47BD-BD2B621F6F21}"/>
          </ac:spMkLst>
        </pc:spChg>
        <pc:spChg chg="mod ord">
          <ac:chgData name="Douglas Daniel Reinoso Peña" userId="60d62e81-f7d7-4b4c-92cc-63fb6a945bb4" providerId="ADAL" clId="{B815062A-1CE0-47B2-B6FA-D2837D2FEAA4}" dt="2024-11-19T14:46:48.662" v="4659"/>
          <ac:spMkLst>
            <pc:docMk/>
            <pc:sldMk cId="1528397871" sldId="2147476752"/>
            <ac:spMk id="34" creationId="{2A145E88-2EDC-6C5C-C44D-52813BAD32D8}"/>
          </ac:spMkLst>
        </pc:spChg>
        <pc:spChg chg="add del mod ord">
          <ac:chgData name="Douglas Daniel Reinoso Peña" userId="60d62e81-f7d7-4b4c-92cc-63fb6a945bb4" providerId="ADAL" clId="{B815062A-1CE0-47B2-B6FA-D2837D2FEAA4}" dt="2024-11-19T14:46:48.662" v="4661"/>
          <ac:spMkLst>
            <pc:docMk/>
            <pc:sldMk cId="1528397871" sldId="2147476752"/>
            <ac:spMk id="35" creationId="{0F1EB641-E8F3-CB15-C730-F0F3E1B9F13B}"/>
          </ac:spMkLst>
        </pc:spChg>
        <pc:spChg chg="del mod">
          <ac:chgData name="Douglas Daniel Reinoso Peña" userId="60d62e81-f7d7-4b4c-92cc-63fb6a945bb4" providerId="ADAL" clId="{B815062A-1CE0-47B2-B6FA-D2837D2FEAA4}" dt="2024-11-19T14:00:01.031" v="3850" actId="478"/>
          <ac:spMkLst>
            <pc:docMk/>
            <pc:sldMk cId="1528397871" sldId="2147476752"/>
            <ac:spMk id="38" creationId="{33B8F93F-1440-7C67-03B5-C06BC58A8355}"/>
          </ac:spMkLst>
        </pc:spChg>
        <pc:spChg chg="add del mod modVis">
          <ac:chgData name="Douglas Daniel Reinoso Peña" userId="60d62e81-f7d7-4b4c-92cc-63fb6a945bb4" providerId="ADAL" clId="{B815062A-1CE0-47B2-B6FA-D2837D2FEAA4}" dt="2024-11-19T14:16:26.286" v="4388"/>
          <ac:spMkLst>
            <pc:docMk/>
            <pc:sldMk cId="1528397871" sldId="2147476752"/>
            <ac:spMk id="39" creationId="{39ABB8B7-101C-9302-296A-C6BD2218FB91}"/>
          </ac:spMkLst>
        </pc:spChg>
        <pc:spChg chg="add del mod modVis">
          <ac:chgData name="Douglas Daniel Reinoso Peña" userId="60d62e81-f7d7-4b4c-92cc-63fb6a945bb4" providerId="ADAL" clId="{B815062A-1CE0-47B2-B6FA-D2837D2FEAA4}" dt="2024-11-19T14:16:28.321" v="4415"/>
          <ac:spMkLst>
            <pc:docMk/>
            <pc:sldMk cId="1528397871" sldId="2147476752"/>
            <ac:spMk id="40" creationId="{3CD5AFA0-29B3-0DCC-CFFF-3C2E49BDD221}"/>
          </ac:spMkLst>
        </pc:spChg>
        <pc:spChg chg="add del mod">
          <ac:chgData name="Douglas Daniel Reinoso Peña" userId="60d62e81-f7d7-4b4c-92cc-63fb6a945bb4" providerId="ADAL" clId="{B815062A-1CE0-47B2-B6FA-D2837D2FEAA4}" dt="2024-11-19T14:49:46.152" v="4694" actId="22"/>
          <ac:spMkLst>
            <pc:docMk/>
            <pc:sldMk cId="1528397871" sldId="2147476752"/>
            <ac:spMk id="42" creationId="{A73D88B9-EB99-50A3-3A13-81DABF6252D8}"/>
          </ac:spMkLst>
        </pc:spChg>
        <pc:spChg chg="add mod">
          <ac:chgData name="Douglas Daniel Reinoso Peña" userId="60d62e81-f7d7-4b4c-92cc-63fb6a945bb4" providerId="ADAL" clId="{B815062A-1CE0-47B2-B6FA-D2837D2FEAA4}" dt="2024-11-19T14:54:46.972" v="4760" actId="164"/>
          <ac:spMkLst>
            <pc:docMk/>
            <pc:sldMk cId="1528397871" sldId="2147476752"/>
            <ac:spMk id="44" creationId="{12B7577A-0A46-EB3D-62BA-8C89B0CF4A34}"/>
          </ac:spMkLst>
        </pc:spChg>
        <pc:spChg chg="add mod">
          <ac:chgData name="Douglas Daniel Reinoso Peña" userId="60d62e81-f7d7-4b4c-92cc-63fb6a945bb4" providerId="ADAL" clId="{B815062A-1CE0-47B2-B6FA-D2837D2FEAA4}" dt="2024-11-19T14:54:54.454" v="4761" actId="164"/>
          <ac:spMkLst>
            <pc:docMk/>
            <pc:sldMk cId="1528397871" sldId="2147476752"/>
            <ac:spMk id="45" creationId="{0197A930-AF22-85B8-B46C-A6D875A99F24}"/>
          </ac:spMkLst>
        </pc:spChg>
        <pc:spChg chg="add mod">
          <ac:chgData name="Douglas Daniel Reinoso Peña" userId="60d62e81-f7d7-4b4c-92cc-63fb6a945bb4" providerId="ADAL" clId="{B815062A-1CE0-47B2-B6FA-D2837D2FEAA4}" dt="2024-11-19T14:54:54.454" v="4761" actId="164"/>
          <ac:spMkLst>
            <pc:docMk/>
            <pc:sldMk cId="1528397871" sldId="2147476752"/>
            <ac:spMk id="46" creationId="{02805553-4EF2-50BA-A497-E3B6D91427BC}"/>
          </ac:spMkLst>
        </pc:spChg>
        <pc:spChg chg="add mod">
          <ac:chgData name="Douglas Daniel Reinoso Peña" userId="60d62e81-f7d7-4b4c-92cc-63fb6a945bb4" providerId="ADAL" clId="{B815062A-1CE0-47B2-B6FA-D2837D2FEAA4}" dt="2024-11-19T14:54:54.454" v="4761" actId="164"/>
          <ac:spMkLst>
            <pc:docMk/>
            <pc:sldMk cId="1528397871" sldId="2147476752"/>
            <ac:spMk id="47" creationId="{96D96ABC-0712-1827-89D8-FFBCA459D9E3}"/>
          </ac:spMkLst>
        </pc:spChg>
        <pc:spChg chg="add mod">
          <ac:chgData name="Douglas Daniel Reinoso Peña" userId="60d62e81-f7d7-4b4c-92cc-63fb6a945bb4" providerId="ADAL" clId="{B815062A-1CE0-47B2-B6FA-D2837D2FEAA4}" dt="2024-11-19T14:54:54.454" v="4761" actId="164"/>
          <ac:spMkLst>
            <pc:docMk/>
            <pc:sldMk cId="1528397871" sldId="2147476752"/>
            <ac:spMk id="48" creationId="{217E0DCF-68C4-050C-C611-58E3723CC8AA}"/>
          </ac:spMkLst>
        </pc:spChg>
        <pc:spChg chg="add del mod">
          <ac:chgData name="Douglas Daniel Reinoso Peña" userId="60d62e81-f7d7-4b4c-92cc-63fb6a945bb4" providerId="ADAL" clId="{B815062A-1CE0-47B2-B6FA-D2837D2FEAA4}" dt="2024-11-19T14:53:14.665" v="4748" actId="478"/>
          <ac:spMkLst>
            <pc:docMk/>
            <pc:sldMk cId="1528397871" sldId="2147476752"/>
            <ac:spMk id="49" creationId="{3488E6BE-58ED-AF07-21F4-59A7068C02A0}"/>
          </ac:spMkLst>
        </pc:spChg>
        <pc:spChg chg="add mod">
          <ac:chgData name="Douglas Daniel Reinoso Peña" userId="60d62e81-f7d7-4b4c-92cc-63fb6a945bb4" providerId="ADAL" clId="{B815062A-1CE0-47B2-B6FA-D2837D2FEAA4}" dt="2024-11-19T14:55:03.050" v="4762" actId="164"/>
          <ac:spMkLst>
            <pc:docMk/>
            <pc:sldMk cId="1528397871" sldId="2147476752"/>
            <ac:spMk id="50" creationId="{3401F501-C0C8-09ED-8353-E6157187A3C4}"/>
          </ac:spMkLst>
        </pc:spChg>
        <pc:spChg chg="add mod">
          <ac:chgData name="Douglas Daniel Reinoso Peña" userId="60d62e81-f7d7-4b4c-92cc-63fb6a945bb4" providerId="ADAL" clId="{B815062A-1CE0-47B2-B6FA-D2837D2FEAA4}" dt="2024-11-19T14:55:03.050" v="4762" actId="164"/>
          <ac:spMkLst>
            <pc:docMk/>
            <pc:sldMk cId="1528397871" sldId="2147476752"/>
            <ac:spMk id="51" creationId="{A134BAD7-BD79-AC87-F675-0D07A10E567B}"/>
          </ac:spMkLst>
        </pc:spChg>
        <pc:spChg chg="add mod">
          <ac:chgData name="Douglas Daniel Reinoso Peña" userId="60d62e81-f7d7-4b4c-92cc-63fb6a945bb4" providerId="ADAL" clId="{B815062A-1CE0-47B2-B6FA-D2837D2FEAA4}" dt="2024-11-19T14:55:03.050" v="4762" actId="164"/>
          <ac:spMkLst>
            <pc:docMk/>
            <pc:sldMk cId="1528397871" sldId="2147476752"/>
            <ac:spMk id="52" creationId="{F52745B1-AF3D-B88E-8FE1-55F82C8E54EF}"/>
          </ac:spMkLst>
        </pc:spChg>
        <pc:grpChg chg="mod ord">
          <ac:chgData name="Douglas Daniel Reinoso Peña" userId="60d62e81-f7d7-4b4c-92cc-63fb6a945bb4" providerId="ADAL" clId="{B815062A-1CE0-47B2-B6FA-D2837D2FEAA4}" dt="2024-11-19T14:46:48.658" v="4647"/>
          <ac:grpSpMkLst>
            <pc:docMk/>
            <pc:sldMk cId="1528397871" sldId="2147476752"/>
            <ac:grpSpMk id="22" creationId="{BA829B7B-AE2B-7B1D-6532-F03428AA506C}"/>
          </ac:grpSpMkLst>
        </pc:grpChg>
        <pc:grpChg chg="mod ord">
          <ac:chgData name="Douglas Daniel Reinoso Peña" userId="60d62e81-f7d7-4b4c-92cc-63fb6a945bb4" providerId="ADAL" clId="{B815062A-1CE0-47B2-B6FA-D2837D2FEAA4}" dt="2024-11-19T14:46:48.658" v="4649"/>
          <ac:grpSpMkLst>
            <pc:docMk/>
            <pc:sldMk cId="1528397871" sldId="2147476752"/>
            <ac:grpSpMk id="25" creationId="{B8B908FE-0962-2AA5-DF29-71ACB236BC18}"/>
          </ac:grpSpMkLst>
        </pc:grpChg>
        <pc:grpChg chg="add mod">
          <ac:chgData name="Douglas Daniel Reinoso Peña" userId="60d62e81-f7d7-4b4c-92cc-63fb6a945bb4" providerId="ADAL" clId="{B815062A-1CE0-47B2-B6FA-D2837D2FEAA4}" dt="2024-11-19T14:54:46.972" v="4760" actId="164"/>
          <ac:grpSpMkLst>
            <pc:docMk/>
            <pc:sldMk cId="1528397871" sldId="2147476752"/>
            <ac:grpSpMk id="53" creationId="{1A42AD1D-C6C3-32BF-ADE0-67AF19F47F47}"/>
          </ac:grpSpMkLst>
        </pc:grpChg>
        <pc:grpChg chg="add mod">
          <ac:chgData name="Douglas Daniel Reinoso Peña" userId="60d62e81-f7d7-4b4c-92cc-63fb6a945bb4" providerId="ADAL" clId="{B815062A-1CE0-47B2-B6FA-D2837D2FEAA4}" dt="2024-11-19T14:54:54.454" v="4761" actId="164"/>
          <ac:grpSpMkLst>
            <pc:docMk/>
            <pc:sldMk cId="1528397871" sldId="2147476752"/>
            <ac:grpSpMk id="54" creationId="{CC65B546-469E-E17D-D006-5DF31BC5B8ED}"/>
          </ac:grpSpMkLst>
        </pc:grpChg>
        <pc:grpChg chg="add mod">
          <ac:chgData name="Douglas Daniel Reinoso Peña" userId="60d62e81-f7d7-4b4c-92cc-63fb6a945bb4" providerId="ADAL" clId="{B815062A-1CE0-47B2-B6FA-D2837D2FEAA4}" dt="2024-11-19T14:55:03.050" v="4762" actId="164"/>
          <ac:grpSpMkLst>
            <pc:docMk/>
            <pc:sldMk cId="1528397871" sldId="2147476752"/>
            <ac:grpSpMk id="55" creationId="{CE6901A9-C7DE-9898-BF26-6087730859CE}"/>
          </ac:grpSpMkLst>
        </pc:grpChg>
        <pc:graphicFrameChg chg="mod">
          <ac:chgData name="Douglas Daniel Reinoso Peña" userId="60d62e81-f7d7-4b4c-92cc-63fb6a945bb4" providerId="ADAL" clId="{B815062A-1CE0-47B2-B6FA-D2837D2FEAA4}" dt="2024-11-19T14:46:48.664" v="4667"/>
          <ac:graphicFrameMkLst>
            <pc:docMk/>
            <pc:sldMk cId="1528397871" sldId="2147476752"/>
            <ac:graphicFrameMk id="5" creationId="{F9CE6CA1-7208-0BE0-B600-8D3B82347EC6}"/>
          </ac:graphicFrameMkLst>
        </pc:graphicFrameChg>
        <pc:graphicFrameChg chg="del mod ord modGraphic">
          <ac:chgData name="Douglas Daniel Reinoso Peña" userId="60d62e81-f7d7-4b4c-92cc-63fb6a945bb4" providerId="ADAL" clId="{B815062A-1CE0-47B2-B6FA-D2837D2FEAA4}" dt="2024-11-19T14:54:19.023" v="4759" actId="478"/>
          <ac:graphicFrameMkLst>
            <pc:docMk/>
            <pc:sldMk cId="1528397871" sldId="2147476752"/>
            <ac:graphicFrameMk id="36" creationId="{7622E028-7827-ACD2-9100-F5A76A0C712D}"/>
          </ac:graphicFrameMkLst>
        </pc:graphicFrameChg>
        <pc:picChg chg="mod ord">
          <ac:chgData name="Douglas Daniel Reinoso Peña" userId="60d62e81-f7d7-4b4c-92cc-63fb6a945bb4" providerId="ADAL" clId="{B815062A-1CE0-47B2-B6FA-D2837D2FEAA4}" dt="2024-11-19T14:46:48.659" v="4651"/>
          <ac:picMkLst>
            <pc:docMk/>
            <pc:sldMk cId="1528397871" sldId="2147476752"/>
            <ac:picMk id="30" creationId="{82971D77-BACD-F3D3-4506-5934B5AFC198}"/>
          </ac:picMkLst>
        </pc:picChg>
        <pc:picChg chg="mod ord">
          <ac:chgData name="Douglas Daniel Reinoso Peña" userId="60d62e81-f7d7-4b4c-92cc-63fb6a945bb4" providerId="ADAL" clId="{B815062A-1CE0-47B2-B6FA-D2837D2FEAA4}" dt="2024-11-19T14:54:54.454" v="4761" actId="164"/>
          <ac:picMkLst>
            <pc:docMk/>
            <pc:sldMk cId="1528397871" sldId="2147476752"/>
            <ac:picMk id="31" creationId="{13B56D04-98C1-1525-25A6-5B2E85A37914}"/>
          </ac:picMkLst>
        </pc:picChg>
        <pc:picChg chg="mod ord">
          <ac:chgData name="Douglas Daniel Reinoso Peña" userId="60d62e81-f7d7-4b4c-92cc-63fb6a945bb4" providerId="ADAL" clId="{B815062A-1CE0-47B2-B6FA-D2837D2FEAA4}" dt="2024-11-19T14:54:46.972" v="4760" actId="164"/>
          <ac:picMkLst>
            <pc:docMk/>
            <pc:sldMk cId="1528397871" sldId="2147476752"/>
            <ac:picMk id="32" creationId="{1B4BEB93-3E34-D667-1A2C-5AB199459099}"/>
          </ac:picMkLst>
        </pc:picChg>
        <pc:picChg chg="mod ord">
          <ac:chgData name="Douglas Daniel Reinoso Peña" userId="60d62e81-f7d7-4b4c-92cc-63fb6a945bb4" providerId="ADAL" clId="{B815062A-1CE0-47B2-B6FA-D2837D2FEAA4}" dt="2024-11-19T14:55:03.050" v="4762" actId="164"/>
          <ac:picMkLst>
            <pc:docMk/>
            <pc:sldMk cId="1528397871" sldId="2147476752"/>
            <ac:picMk id="33" creationId="{1F030E9B-03ED-6CA6-D257-ED4FB9BE7309}"/>
          </ac:picMkLst>
        </pc:picChg>
        <pc:picChg chg="mod ord">
          <ac:chgData name="Douglas Daniel Reinoso Peña" userId="60d62e81-f7d7-4b4c-92cc-63fb6a945bb4" providerId="ADAL" clId="{B815062A-1CE0-47B2-B6FA-D2837D2FEAA4}" dt="2024-11-19T14:46:48.662" v="4665"/>
          <ac:picMkLst>
            <pc:docMk/>
            <pc:sldMk cId="1528397871" sldId="2147476752"/>
            <ac:picMk id="37" creationId="{764DCEE6-9155-82A4-7CCC-5475BA044B3D}"/>
          </ac:picMkLst>
        </pc:picChg>
      </pc:sldChg>
      <pc:sldChg chg="addSp delSp modSp mod modClrScheme modShow chgLayout">
        <pc:chgData name="Douglas Daniel Reinoso Peña" userId="60d62e81-f7d7-4b4c-92cc-63fb6a945bb4" providerId="ADAL" clId="{B815062A-1CE0-47B2-B6FA-D2837D2FEAA4}" dt="2024-11-20T14:45:28.270" v="7011" actId="1036"/>
        <pc:sldMkLst>
          <pc:docMk/>
          <pc:sldMk cId="2025418505" sldId="2147476753"/>
        </pc:sldMkLst>
        <pc:spChg chg="add del">
          <ac:chgData name="Douglas Daniel Reinoso Peña" userId="60d62e81-f7d7-4b4c-92cc-63fb6a945bb4" providerId="ADAL" clId="{B815062A-1CE0-47B2-B6FA-D2837D2FEAA4}" dt="2024-11-19T13:01:58.217" v="2454" actId="478"/>
          <ac:spMkLst>
            <pc:docMk/>
            <pc:sldMk cId="2025418505" sldId="2147476753"/>
            <ac:spMk id="2" creationId="{4A279FEC-FA7B-C237-ACCC-2A96930C70EB}"/>
          </ac:spMkLst>
        </pc:spChg>
        <pc:spChg chg="mod">
          <ac:chgData name="Douglas Daniel Reinoso Peña" userId="60d62e81-f7d7-4b4c-92cc-63fb6a945bb4" providerId="ADAL" clId="{B815062A-1CE0-47B2-B6FA-D2837D2FEAA4}" dt="2024-11-19T13:38:41.671" v="3335" actId="1038"/>
          <ac:spMkLst>
            <pc:docMk/>
            <pc:sldMk cId="2025418505" sldId="2147476753"/>
            <ac:spMk id="3" creationId="{E70BBCB1-3637-A368-9FE8-E07EB025320A}"/>
          </ac:spMkLst>
        </pc:spChg>
        <pc:spChg chg="mod">
          <ac:chgData name="Douglas Daniel Reinoso Peña" userId="60d62e81-f7d7-4b4c-92cc-63fb6a945bb4" providerId="ADAL" clId="{B815062A-1CE0-47B2-B6FA-D2837D2FEAA4}" dt="2024-11-20T12:27:05.479" v="6411" actId="1076"/>
          <ac:spMkLst>
            <pc:docMk/>
            <pc:sldMk cId="2025418505" sldId="2147476753"/>
            <ac:spMk id="4" creationId="{46535489-60DE-A06D-F2F4-A14C1C85B2BF}"/>
          </ac:spMkLst>
        </pc:spChg>
        <pc:spChg chg="add del mod ord">
          <ac:chgData name="Douglas Daniel Reinoso Peña" userId="60d62e81-f7d7-4b4c-92cc-63fb6a945bb4" providerId="ADAL" clId="{B815062A-1CE0-47B2-B6FA-D2837D2FEAA4}" dt="2024-11-19T13:01:11.702" v="2445" actId="700"/>
          <ac:spMkLst>
            <pc:docMk/>
            <pc:sldMk cId="2025418505" sldId="2147476753"/>
            <ac:spMk id="6" creationId="{19A7CE83-54CD-41F6-2B73-D55BF30A328C}"/>
          </ac:spMkLst>
        </pc:spChg>
        <pc:spChg chg="mod">
          <ac:chgData name="Douglas Daniel Reinoso Peña" userId="60d62e81-f7d7-4b4c-92cc-63fb6a945bb4" providerId="ADAL" clId="{B815062A-1CE0-47B2-B6FA-D2837D2FEAA4}" dt="2024-11-19T13:02:26.025" v="2522" actId="2711"/>
          <ac:spMkLst>
            <pc:docMk/>
            <pc:sldMk cId="2025418505" sldId="2147476753"/>
            <ac:spMk id="7" creationId="{F264855A-952A-4866-DF0B-3D0D9625C0F1}"/>
          </ac:spMkLst>
        </pc:spChg>
        <pc:spChg chg="add del mod modVis">
          <ac:chgData name="Douglas Daniel Reinoso Peña" userId="60d62e81-f7d7-4b4c-92cc-63fb6a945bb4" providerId="ADAL" clId="{B815062A-1CE0-47B2-B6FA-D2837D2FEAA4}" dt="2024-11-19T13:01:08.353" v="2432" actId="962"/>
          <ac:spMkLst>
            <pc:docMk/>
            <pc:sldMk cId="2025418505" sldId="2147476753"/>
            <ac:spMk id="8" creationId="{A4A1585B-1B57-4012-43E5-2199ADCE84F0}"/>
          </ac:spMkLst>
        </pc:spChg>
        <pc:spChg chg="add del">
          <ac:chgData name="Douglas Daniel Reinoso Peña" userId="60d62e81-f7d7-4b4c-92cc-63fb6a945bb4" providerId="ADAL" clId="{B815062A-1CE0-47B2-B6FA-D2837D2FEAA4}" dt="2024-11-19T13:01:40.552" v="2450" actId="22"/>
          <ac:spMkLst>
            <pc:docMk/>
            <pc:sldMk cId="2025418505" sldId="2147476753"/>
            <ac:spMk id="10" creationId="{B22C8AA8-303A-01E2-EDF9-368AA412A4FA}"/>
          </ac:spMkLst>
        </pc:spChg>
        <pc:spChg chg="add mod ord">
          <ac:chgData name="Douglas Daniel Reinoso Peña" userId="60d62e81-f7d7-4b4c-92cc-63fb6a945bb4" providerId="ADAL" clId="{B815062A-1CE0-47B2-B6FA-D2837D2FEAA4}" dt="2024-11-19T13:02:26.532" v="2523" actId="948"/>
          <ac:spMkLst>
            <pc:docMk/>
            <pc:sldMk cId="2025418505" sldId="2147476753"/>
            <ac:spMk id="11" creationId="{07C15BDB-90CC-39D9-25E9-A39393BD1C64}"/>
          </ac:spMkLst>
        </pc:spChg>
        <pc:spChg chg="add del mod modVis">
          <ac:chgData name="Douglas Daniel Reinoso Peña" userId="60d62e81-f7d7-4b4c-92cc-63fb6a945bb4" providerId="ADAL" clId="{B815062A-1CE0-47B2-B6FA-D2837D2FEAA4}" dt="2024-11-19T13:02:16.412" v="2490"/>
          <ac:spMkLst>
            <pc:docMk/>
            <pc:sldMk cId="2025418505" sldId="2147476753"/>
            <ac:spMk id="12" creationId="{BD86D630-7B0C-C882-4574-18F242CD185A}"/>
          </ac:spMkLst>
        </pc:spChg>
        <pc:spChg chg="add del mod modVis">
          <ac:chgData name="Douglas Daniel Reinoso Peña" userId="60d62e81-f7d7-4b4c-92cc-63fb6a945bb4" providerId="ADAL" clId="{B815062A-1CE0-47B2-B6FA-D2837D2FEAA4}" dt="2024-11-19T13:02:17.789" v="2519"/>
          <ac:spMkLst>
            <pc:docMk/>
            <pc:sldMk cId="2025418505" sldId="2147476753"/>
            <ac:spMk id="13" creationId="{591A73E4-8581-705D-D3B2-9C797A65186E}"/>
          </ac:spMkLst>
        </pc:spChg>
        <pc:spChg chg="add del mod modVis">
          <ac:chgData name="Douglas Daniel Reinoso Peña" userId="60d62e81-f7d7-4b4c-92cc-63fb6a945bb4" providerId="ADAL" clId="{B815062A-1CE0-47B2-B6FA-D2837D2FEAA4}" dt="2024-11-19T13:02:26.557" v="2544"/>
          <ac:spMkLst>
            <pc:docMk/>
            <pc:sldMk cId="2025418505" sldId="2147476753"/>
            <ac:spMk id="14" creationId="{876379F0-7D13-F912-937E-ACD148915750}"/>
          </ac:spMkLst>
        </pc:spChg>
        <pc:spChg chg="add mod">
          <ac:chgData name="Douglas Daniel Reinoso Peña" userId="60d62e81-f7d7-4b4c-92cc-63fb6a945bb4" providerId="ADAL" clId="{B815062A-1CE0-47B2-B6FA-D2837D2FEAA4}" dt="2024-11-19T13:38:49.918" v="3353" actId="1036"/>
          <ac:spMkLst>
            <pc:docMk/>
            <pc:sldMk cId="2025418505" sldId="2147476753"/>
            <ac:spMk id="16" creationId="{5897A2E7-1BB2-8CFA-AAF5-A51AE7279B17}"/>
          </ac:spMkLst>
        </pc:spChg>
        <pc:spChg chg="add mod">
          <ac:chgData name="Douglas Daniel Reinoso Peña" userId="60d62e81-f7d7-4b4c-92cc-63fb6a945bb4" providerId="ADAL" clId="{B815062A-1CE0-47B2-B6FA-D2837D2FEAA4}" dt="2024-11-19T13:37:46.047" v="3250" actId="20577"/>
          <ac:spMkLst>
            <pc:docMk/>
            <pc:sldMk cId="2025418505" sldId="2147476753"/>
            <ac:spMk id="17" creationId="{7F5BA4EE-546C-EECA-A6D6-3107FD9085B4}"/>
          </ac:spMkLst>
        </pc:spChg>
        <pc:spChg chg="add del mod">
          <ac:chgData name="Douglas Daniel Reinoso Peña" userId="60d62e81-f7d7-4b4c-92cc-63fb6a945bb4" providerId="ADAL" clId="{B815062A-1CE0-47B2-B6FA-D2837D2FEAA4}" dt="2024-11-19T20:10:54.763" v="5640" actId="478"/>
          <ac:spMkLst>
            <pc:docMk/>
            <pc:sldMk cId="2025418505" sldId="2147476753"/>
            <ac:spMk id="18" creationId="{225A55BD-73A8-64D2-B669-FC009EB1F959}"/>
          </ac:spMkLst>
        </pc:spChg>
        <pc:spChg chg="add mod">
          <ac:chgData name="Douglas Daniel Reinoso Peña" userId="60d62e81-f7d7-4b4c-92cc-63fb6a945bb4" providerId="ADAL" clId="{B815062A-1CE0-47B2-B6FA-D2837D2FEAA4}" dt="2024-11-19T15:02:42.321" v="4830" actId="5793"/>
          <ac:spMkLst>
            <pc:docMk/>
            <pc:sldMk cId="2025418505" sldId="2147476753"/>
            <ac:spMk id="19" creationId="{EEBA93D7-49E0-0118-4B9E-9B9B180F89DD}"/>
          </ac:spMkLst>
        </pc:spChg>
        <pc:spChg chg="mod">
          <ac:chgData name="Douglas Daniel Reinoso Peña" userId="60d62e81-f7d7-4b4c-92cc-63fb6a945bb4" providerId="ADAL" clId="{B815062A-1CE0-47B2-B6FA-D2837D2FEAA4}" dt="2024-11-20T12:26:59.115" v="6410" actId="1076"/>
          <ac:spMkLst>
            <pc:docMk/>
            <pc:sldMk cId="2025418505" sldId="2147476753"/>
            <ac:spMk id="20" creationId="{E0167C09-5F07-04B7-B90C-8DDAD8A6E7E9}"/>
          </ac:spMkLst>
        </pc:spChg>
        <pc:spChg chg="mod">
          <ac:chgData name="Douglas Daniel Reinoso Peña" userId="60d62e81-f7d7-4b4c-92cc-63fb6a945bb4" providerId="ADAL" clId="{B815062A-1CE0-47B2-B6FA-D2837D2FEAA4}" dt="2024-11-20T14:12:55.812" v="6778" actId="1036"/>
          <ac:spMkLst>
            <pc:docMk/>
            <pc:sldMk cId="2025418505" sldId="2147476753"/>
            <ac:spMk id="22" creationId="{5E5F70A2-B127-BC12-A3F6-7A36FC9E7E85}"/>
          </ac:spMkLst>
        </pc:spChg>
        <pc:spChg chg="mod">
          <ac:chgData name="Douglas Daniel Reinoso Peña" userId="60d62e81-f7d7-4b4c-92cc-63fb6a945bb4" providerId="ADAL" clId="{B815062A-1CE0-47B2-B6FA-D2837D2FEAA4}" dt="2024-11-20T14:15:50.756" v="6797" actId="1036"/>
          <ac:spMkLst>
            <pc:docMk/>
            <pc:sldMk cId="2025418505" sldId="2147476753"/>
            <ac:spMk id="26" creationId="{B8BD0C1C-0543-9A7C-AD7D-F49099D4AF93}"/>
          </ac:spMkLst>
        </pc:spChg>
        <pc:spChg chg="mod">
          <ac:chgData name="Douglas Daniel Reinoso Peña" userId="60d62e81-f7d7-4b4c-92cc-63fb6a945bb4" providerId="ADAL" clId="{B815062A-1CE0-47B2-B6FA-D2837D2FEAA4}" dt="2024-11-19T13:02:26.025" v="2522" actId="2711"/>
          <ac:spMkLst>
            <pc:docMk/>
            <pc:sldMk cId="2025418505" sldId="2147476753"/>
            <ac:spMk id="33" creationId="{34F384B9-DA1B-FADF-D117-EEA9E6ADCA33}"/>
          </ac:spMkLst>
        </pc:spChg>
        <pc:spChg chg="mod">
          <ac:chgData name="Douglas Daniel Reinoso Peña" userId="60d62e81-f7d7-4b4c-92cc-63fb6a945bb4" providerId="ADAL" clId="{B815062A-1CE0-47B2-B6FA-D2837D2FEAA4}" dt="2024-11-19T14:07:35.353" v="3900" actId="1076"/>
          <ac:spMkLst>
            <pc:docMk/>
            <pc:sldMk cId="2025418505" sldId="2147476753"/>
            <ac:spMk id="34" creationId="{ADFD6706-BAEA-BD72-1CA3-074BA213EF8D}"/>
          </ac:spMkLst>
        </pc:spChg>
        <pc:spChg chg="mod">
          <ac:chgData name="Douglas Daniel Reinoso Peña" userId="60d62e81-f7d7-4b4c-92cc-63fb6a945bb4" providerId="ADAL" clId="{B815062A-1CE0-47B2-B6FA-D2837D2FEAA4}" dt="2024-11-20T14:45:28.270" v="7011" actId="1036"/>
          <ac:spMkLst>
            <pc:docMk/>
            <pc:sldMk cId="2025418505" sldId="2147476753"/>
            <ac:spMk id="38" creationId="{6BDB4EB9-F590-445E-F94A-B10B59798D50}"/>
          </ac:spMkLst>
        </pc:spChg>
        <pc:spChg chg="mod">
          <ac:chgData name="Douglas Daniel Reinoso Peña" userId="60d62e81-f7d7-4b4c-92cc-63fb6a945bb4" providerId="ADAL" clId="{B815062A-1CE0-47B2-B6FA-D2837D2FEAA4}" dt="2024-11-20T12:26:59.115" v="6410" actId="1076"/>
          <ac:spMkLst>
            <pc:docMk/>
            <pc:sldMk cId="2025418505" sldId="2147476753"/>
            <ac:spMk id="39" creationId="{E66A21B1-09EF-CE35-5723-CA2B86A051BC}"/>
          </ac:spMkLst>
        </pc:spChg>
        <pc:spChg chg="mod">
          <ac:chgData name="Douglas Daniel Reinoso Peña" userId="60d62e81-f7d7-4b4c-92cc-63fb6a945bb4" providerId="ADAL" clId="{B815062A-1CE0-47B2-B6FA-D2837D2FEAA4}" dt="2024-11-19T13:40:44.580" v="3408" actId="1076"/>
          <ac:spMkLst>
            <pc:docMk/>
            <pc:sldMk cId="2025418505" sldId="2147476753"/>
            <ac:spMk id="40" creationId="{5AFF96EB-4732-5892-9FF6-F67E244B1523}"/>
          </ac:spMkLst>
        </pc:spChg>
        <pc:spChg chg="mod">
          <ac:chgData name="Douglas Daniel Reinoso Peña" userId="60d62e81-f7d7-4b4c-92cc-63fb6a945bb4" providerId="ADAL" clId="{B815062A-1CE0-47B2-B6FA-D2837D2FEAA4}" dt="2024-11-19T13:33:30.488" v="3145" actId="1037"/>
          <ac:spMkLst>
            <pc:docMk/>
            <pc:sldMk cId="2025418505" sldId="2147476753"/>
            <ac:spMk id="41" creationId="{DE62EFBD-9C08-1B68-0616-BA35EE2A2FAE}"/>
          </ac:spMkLst>
        </pc:spChg>
        <pc:spChg chg="mod">
          <ac:chgData name="Douglas Daniel Reinoso Peña" userId="60d62e81-f7d7-4b4c-92cc-63fb6a945bb4" providerId="ADAL" clId="{B815062A-1CE0-47B2-B6FA-D2837D2FEAA4}" dt="2024-11-19T13:37:54.743" v="3257" actId="1038"/>
          <ac:spMkLst>
            <pc:docMk/>
            <pc:sldMk cId="2025418505" sldId="2147476753"/>
            <ac:spMk id="43" creationId="{C2AC6F08-C10C-B21B-FE87-F21C32237DA4}"/>
          </ac:spMkLst>
        </pc:spChg>
        <pc:spChg chg="mod">
          <ac:chgData name="Douglas Daniel Reinoso Peña" userId="60d62e81-f7d7-4b4c-92cc-63fb6a945bb4" providerId="ADAL" clId="{B815062A-1CE0-47B2-B6FA-D2837D2FEAA4}" dt="2024-11-19T13:38:13.184" v="3258" actId="1076"/>
          <ac:spMkLst>
            <pc:docMk/>
            <pc:sldMk cId="2025418505" sldId="2147476753"/>
            <ac:spMk id="44" creationId="{407CD28F-848E-C2F2-93F0-E05648CEFA12}"/>
          </ac:spMkLst>
        </pc:spChg>
        <pc:spChg chg="del mod">
          <ac:chgData name="Douglas Daniel Reinoso Peña" userId="60d62e81-f7d7-4b4c-92cc-63fb6a945bb4" providerId="ADAL" clId="{B815062A-1CE0-47B2-B6FA-D2837D2FEAA4}" dt="2024-11-19T13:24:39.054" v="2862" actId="478"/>
          <ac:spMkLst>
            <pc:docMk/>
            <pc:sldMk cId="2025418505" sldId="2147476753"/>
            <ac:spMk id="48" creationId="{8DE51473-0999-01EC-D047-018F1B90330F}"/>
          </ac:spMkLst>
        </pc:spChg>
        <pc:spChg chg="del mod">
          <ac:chgData name="Douglas Daniel Reinoso Peña" userId="60d62e81-f7d7-4b4c-92cc-63fb6a945bb4" providerId="ADAL" clId="{B815062A-1CE0-47B2-B6FA-D2837D2FEAA4}" dt="2024-11-19T13:24:34.926" v="2860" actId="478"/>
          <ac:spMkLst>
            <pc:docMk/>
            <pc:sldMk cId="2025418505" sldId="2147476753"/>
            <ac:spMk id="50" creationId="{74071610-30B7-CE4F-62CD-766849B3782D}"/>
          </ac:spMkLst>
        </pc:spChg>
        <pc:spChg chg="del mod">
          <ac:chgData name="Douglas Daniel Reinoso Peña" userId="60d62e81-f7d7-4b4c-92cc-63fb6a945bb4" providerId="ADAL" clId="{B815062A-1CE0-47B2-B6FA-D2837D2FEAA4}" dt="2024-11-19T13:24:29.901" v="2858" actId="478"/>
          <ac:spMkLst>
            <pc:docMk/>
            <pc:sldMk cId="2025418505" sldId="2147476753"/>
            <ac:spMk id="51" creationId="{076077B4-6397-0203-3EE4-BB91F7291487}"/>
          </ac:spMkLst>
        </pc:spChg>
        <pc:spChg chg="del mod">
          <ac:chgData name="Douglas Daniel Reinoso Peña" userId="60d62e81-f7d7-4b4c-92cc-63fb6a945bb4" providerId="ADAL" clId="{B815062A-1CE0-47B2-B6FA-D2837D2FEAA4}" dt="2024-11-19T13:24:36.917" v="2861" actId="478"/>
          <ac:spMkLst>
            <pc:docMk/>
            <pc:sldMk cId="2025418505" sldId="2147476753"/>
            <ac:spMk id="53" creationId="{9D57A0D0-903C-0440-32A4-3C5A14B3ECAA}"/>
          </ac:spMkLst>
        </pc:spChg>
        <pc:spChg chg="del mod">
          <ac:chgData name="Douglas Daniel Reinoso Peña" userId="60d62e81-f7d7-4b4c-92cc-63fb6a945bb4" providerId="ADAL" clId="{B815062A-1CE0-47B2-B6FA-D2837D2FEAA4}" dt="2024-11-19T13:24:31.537" v="2859" actId="478"/>
          <ac:spMkLst>
            <pc:docMk/>
            <pc:sldMk cId="2025418505" sldId="2147476753"/>
            <ac:spMk id="54" creationId="{BDED6A2C-DA9F-DF9E-7313-408454FEABD4}"/>
          </ac:spMkLst>
        </pc:spChg>
        <pc:spChg chg="del mod">
          <ac:chgData name="Douglas Daniel Reinoso Peña" userId="60d62e81-f7d7-4b4c-92cc-63fb6a945bb4" providerId="ADAL" clId="{B815062A-1CE0-47B2-B6FA-D2837D2FEAA4}" dt="2024-11-19T13:24:27.991" v="2857" actId="478"/>
          <ac:spMkLst>
            <pc:docMk/>
            <pc:sldMk cId="2025418505" sldId="2147476753"/>
            <ac:spMk id="55" creationId="{4C9848DD-E55E-7749-83CA-1E9CF5978BE0}"/>
          </ac:spMkLst>
        </pc:spChg>
        <pc:spChg chg="del mod">
          <ac:chgData name="Douglas Daniel Reinoso Peña" userId="60d62e81-f7d7-4b4c-92cc-63fb6a945bb4" providerId="ADAL" clId="{B815062A-1CE0-47B2-B6FA-D2837D2FEAA4}" dt="2024-11-19T13:24:46.516" v="2863" actId="478"/>
          <ac:spMkLst>
            <pc:docMk/>
            <pc:sldMk cId="2025418505" sldId="2147476753"/>
            <ac:spMk id="56" creationId="{02D000A2-F2B1-DB4F-725A-1805AE6AB51C}"/>
          </ac:spMkLst>
        </pc:spChg>
        <pc:spChg chg="del mod">
          <ac:chgData name="Douglas Daniel Reinoso Peña" userId="60d62e81-f7d7-4b4c-92cc-63fb6a945bb4" providerId="ADAL" clId="{B815062A-1CE0-47B2-B6FA-D2837D2FEAA4}" dt="2024-11-19T20:10:54.763" v="5640" actId="478"/>
          <ac:spMkLst>
            <pc:docMk/>
            <pc:sldMk cId="2025418505" sldId="2147476753"/>
            <ac:spMk id="57" creationId="{AD3AB923-D6F2-246F-5155-5EA319E519E1}"/>
          </ac:spMkLst>
        </pc:spChg>
        <pc:spChg chg="del mod">
          <ac:chgData name="Douglas Daniel Reinoso Peña" userId="60d62e81-f7d7-4b4c-92cc-63fb6a945bb4" providerId="ADAL" clId="{B815062A-1CE0-47B2-B6FA-D2837D2FEAA4}" dt="2024-11-19T20:10:54.763" v="5640" actId="478"/>
          <ac:spMkLst>
            <pc:docMk/>
            <pc:sldMk cId="2025418505" sldId="2147476753"/>
            <ac:spMk id="58" creationId="{AD1755C6-AC1F-123F-0D4B-F69A2E11AC7C}"/>
          </ac:spMkLst>
        </pc:spChg>
        <pc:spChg chg="del mod">
          <ac:chgData name="Douglas Daniel Reinoso Peña" userId="60d62e81-f7d7-4b4c-92cc-63fb6a945bb4" providerId="ADAL" clId="{B815062A-1CE0-47B2-B6FA-D2837D2FEAA4}" dt="2024-11-19T20:10:54.763" v="5640" actId="478"/>
          <ac:spMkLst>
            <pc:docMk/>
            <pc:sldMk cId="2025418505" sldId="2147476753"/>
            <ac:spMk id="59" creationId="{2B010E1F-196B-5673-B21D-0354E3F98A8F}"/>
          </ac:spMkLst>
        </pc:spChg>
        <pc:spChg chg="del mod">
          <ac:chgData name="Douglas Daniel Reinoso Peña" userId="60d62e81-f7d7-4b4c-92cc-63fb6a945bb4" providerId="ADAL" clId="{B815062A-1CE0-47B2-B6FA-D2837D2FEAA4}" dt="2024-11-19T20:10:54.763" v="5640" actId="478"/>
          <ac:spMkLst>
            <pc:docMk/>
            <pc:sldMk cId="2025418505" sldId="2147476753"/>
            <ac:spMk id="60" creationId="{EC3F8F76-45C5-460C-F9CC-E6EEA8D4FBED}"/>
          </ac:spMkLst>
        </pc:spChg>
        <pc:spChg chg="del mod">
          <ac:chgData name="Douglas Daniel Reinoso Peña" userId="60d62e81-f7d7-4b4c-92cc-63fb6a945bb4" providerId="ADAL" clId="{B815062A-1CE0-47B2-B6FA-D2837D2FEAA4}" dt="2024-11-19T20:10:54.763" v="5640" actId="478"/>
          <ac:spMkLst>
            <pc:docMk/>
            <pc:sldMk cId="2025418505" sldId="2147476753"/>
            <ac:spMk id="61" creationId="{177019B3-E46F-433E-7AC8-5C84D267FBE3}"/>
          </ac:spMkLst>
        </pc:spChg>
        <pc:spChg chg="mod">
          <ac:chgData name="Douglas Daniel Reinoso Peña" userId="60d62e81-f7d7-4b4c-92cc-63fb6a945bb4" providerId="ADAL" clId="{B815062A-1CE0-47B2-B6FA-D2837D2FEAA4}" dt="2024-11-20T12:27:05.479" v="6411" actId="1076"/>
          <ac:spMkLst>
            <pc:docMk/>
            <pc:sldMk cId="2025418505" sldId="2147476753"/>
            <ac:spMk id="62" creationId="{7CD70CC1-973B-14BC-BC9D-19C07E1F94B8}"/>
          </ac:spMkLst>
        </pc:spChg>
        <pc:spChg chg="mod">
          <ac:chgData name="Douglas Daniel Reinoso Peña" userId="60d62e81-f7d7-4b4c-92cc-63fb6a945bb4" providerId="ADAL" clId="{B815062A-1CE0-47B2-B6FA-D2837D2FEAA4}" dt="2024-11-20T14:28:45.946" v="6901" actId="14100"/>
          <ac:spMkLst>
            <pc:docMk/>
            <pc:sldMk cId="2025418505" sldId="2147476753"/>
            <ac:spMk id="63" creationId="{809F0C42-30C5-B491-2D2C-8D6302FC2271}"/>
          </ac:spMkLst>
        </pc:spChg>
        <pc:spChg chg="mod">
          <ac:chgData name="Douglas Daniel Reinoso Peña" userId="60d62e81-f7d7-4b4c-92cc-63fb6a945bb4" providerId="ADAL" clId="{B815062A-1CE0-47B2-B6FA-D2837D2FEAA4}" dt="2024-11-20T14:15:15.930" v="6779" actId="14100"/>
          <ac:spMkLst>
            <pc:docMk/>
            <pc:sldMk cId="2025418505" sldId="2147476753"/>
            <ac:spMk id="64" creationId="{2BF5331A-4A85-F5BF-EDB0-61CD26440FD4}"/>
          </ac:spMkLst>
        </pc:spChg>
        <pc:spChg chg="mod">
          <ac:chgData name="Douglas Daniel Reinoso Peña" userId="60d62e81-f7d7-4b4c-92cc-63fb6a945bb4" providerId="ADAL" clId="{B815062A-1CE0-47B2-B6FA-D2837D2FEAA4}" dt="2024-11-20T14:15:56.937" v="6798" actId="14100"/>
          <ac:spMkLst>
            <pc:docMk/>
            <pc:sldMk cId="2025418505" sldId="2147476753"/>
            <ac:spMk id="65" creationId="{4CA9A013-2492-C9FE-0E19-143ED5BCF83E}"/>
          </ac:spMkLst>
        </pc:spChg>
        <pc:spChg chg="mod">
          <ac:chgData name="Douglas Daniel Reinoso Peña" userId="60d62e81-f7d7-4b4c-92cc-63fb6a945bb4" providerId="ADAL" clId="{B815062A-1CE0-47B2-B6FA-D2837D2FEAA4}" dt="2024-11-19T13:38:41.671" v="3335" actId="1038"/>
          <ac:spMkLst>
            <pc:docMk/>
            <pc:sldMk cId="2025418505" sldId="2147476753"/>
            <ac:spMk id="66" creationId="{2F401B7C-3B25-8952-547B-35E60C1E2CE5}"/>
          </ac:spMkLst>
        </pc:spChg>
        <pc:grpChg chg="add del mod">
          <ac:chgData name="Douglas Daniel Reinoso Peña" userId="60d62e81-f7d7-4b4c-92cc-63fb6a945bb4" providerId="ADAL" clId="{B815062A-1CE0-47B2-B6FA-D2837D2FEAA4}" dt="2024-11-19T13:02:35.376" v="2570" actId="1035"/>
          <ac:grpSpMkLst>
            <pc:docMk/>
            <pc:sldMk cId="2025418505" sldId="2147476753"/>
            <ac:grpSpMk id="32" creationId="{2619E410-16BE-75FE-959F-D5879996921B}"/>
          </ac:grpSpMkLst>
        </pc:grpChg>
        <pc:graphicFrameChg chg="mod">
          <ac:chgData name="Douglas Daniel Reinoso Peña" userId="60d62e81-f7d7-4b4c-92cc-63fb6a945bb4" providerId="ADAL" clId="{B815062A-1CE0-47B2-B6FA-D2837D2FEAA4}" dt="2024-11-19T13:02:26.558" v="2546"/>
          <ac:graphicFrameMkLst>
            <pc:docMk/>
            <pc:sldMk cId="2025418505" sldId="2147476753"/>
            <ac:graphicFrameMk id="5" creationId="{8BE3E639-F917-A4E8-6460-8763A4EFA62D}"/>
          </ac:graphicFrameMkLst>
        </pc:graphicFrameChg>
        <pc:graphicFrameChg chg="add del">
          <ac:chgData name="Douglas Daniel Reinoso Peña" userId="60d62e81-f7d7-4b4c-92cc-63fb6a945bb4" providerId="ADAL" clId="{B815062A-1CE0-47B2-B6FA-D2837D2FEAA4}" dt="2024-11-19T13:01:18.681" v="2448" actId="478"/>
          <ac:graphicFrameMkLst>
            <pc:docMk/>
            <pc:sldMk cId="2025418505" sldId="2147476753"/>
            <ac:graphicFrameMk id="28" creationId="{2EC73FC2-1C0E-94B0-F6B4-D6B7EB42F8E4}"/>
          </ac:graphicFrameMkLst>
        </pc:graphicFrameChg>
        <pc:picChg chg="add mod">
          <ac:chgData name="Douglas Daniel Reinoso Peña" userId="60d62e81-f7d7-4b4c-92cc-63fb6a945bb4" providerId="ADAL" clId="{B815062A-1CE0-47B2-B6FA-D2837D2FEAA4}" dt="2024-11-19T13:26:27.577" v="2876" actId="1440"/>
          <ac:picMkLst>
            <pc:docMk/>
            <pc:sldMk cId="2025418505" sldId="2147476753"/>
            <ac:picMk id="15" creationId="{A8A1AB83-14BB-4806-A66F-64D487FBC992}"/>
          </ac:picMkLst>
        </pc:picChg>
        <pc:picChg chg="add del mod">
          <ac:chgData name="Douglas Daniel Reinoso Peña" userId="60d62e81-f7d7-4b4c-92cc-63fb6a945bb4" providerId="ADAL" clId="{B815062A-1CE0-47B2-B6FA-D2837D2FEAA4}" dt="2024-11-19T13:36:57.252" v="3197" actId="478"/>
          <ac:picMkLst>
            <pc:docMk/>
            <pc:sldMk cId="2025418505" sldId="2147476753"/>
            <ac:picMk id="21" creationId="{4682D1DD-10A3-44DD-DF37-92E2A248B16A}"/>
          </ac:picMkLst>
        </pc:picChg>
        <pc:picChg chg="add mod">
          <ac:chgData name="Douglas Daniel Reinoso Peña" userId="60d62e81-f7d7-4b4c-92cc-63fb6a945bb4" providerId="ADAL" clId="{B815062A-1CE0-47B2-B6FA-D2837D2FEAA4}" dt="2024-11-19T13:37:54.743" v="3257" actId="1038"/>
          <ac:picMkLst>
            <pc:docMk/>
            <pc:sldMk cId="2025418505" sldId="2147476753"/>
            <ac:picMk id="23" creationId="{0C4F214D-BBAA-AED4-F779-B6269F4F6CA4}"/>
          </ac:picMkLst>
        </pc:picChg>
        <pc:picChg chg="add mod modCrop">
          <ac:chgData name="Douglas Daniel Reinoso Peña" userId="60d62e81-f7d7-4b4c-92cc-63fb6a945bb4" providerId="ADAL" clId="{B815062A-1CE0-47B2-B6FA-D2837D2FEAA4}" dt="2024-11-19T13:37:41.127" v="3248" actId="1037"/>
          <ac:picMkLst>
            <pc:docMk/>
            <pc:sldMk cId="2025418505" sldId="2147476753"/>
            <ac:picMk id="24" creationId="{FF102C54-AFF8-83E8-7BA0-E4C882B5E21A}"/>
          </ac:picMkLst>
        </pc:picChg>
        <pc:picChg chg="mod">
          <ac:chgData name="Douglas Daniel Reinoso Peña" userId="60d62e81-f7d7-4b4c-92cc-63fb6a945bb4" providerId="ADAL" clId="{B815062A-1CE0-47B2-B6FA-D2837D2FEAA4}" dt="2024-11-20T12:26:59.115" v="6410" actId="1076"/>
          <ac:picMkLst>
            <pc:docMk/>
            <pc:sldMk cId="2025418505" sldId="2147476753"/>
            <ac:picMk id="46" creationId="{F5B38B7E-D9F1-1FC2-D24B-3CC684F7FCDA}"/>
          </ac:picMkLst>
        </pc:picChg>
        <pc:picChg chg="mod">
          <ac:chgData name="Douglas Daniel Reinoso Peña" userId="60d62e81-f7d7-4b4c-92cc-63fb6a945bb4" providerId="ADAL" clId="{B815062A-1CE0-47B2-B6FA-D2837D2FEAA4}" dt="2024-11-19T13:39:14.810" v="3354" actId="1076"/>
          <ac:picMkLst>
            <pc:docMk/>
            <pc:sldMk cId="2025418505" sldId="2147476753"/>
            <ac:picMk id="49" creationId="{23C4E667-DC28-F31B-ED7F-B1C47E78921B}"/>
          </ac:picMkLst>
        </pc:picChg>
        <pc:picChg chg="mod">
          <ac:chgData name="Douglas Daniel Reinoso Peña" userId="60d62e81-f7d7-4b4c-92cc-63fb6a945bb4" providerId="ADAL" clId="{B815062A-1CE0-47B2-B6FA-D2837D2FEAA4}" dt="2024-11-19T13:38:13.184" v="3258" actId="1076"/>
          <ac:picMkLst>
            <pc:docMk/>
            <pc:sldMk cId="2025418505" sldId="2147476753"/>
            <ac:picMk id="68" creationId="{918A4E19-4D18-CD1C-0DB5-BF3BF3A9A3D5}"/>
          </ac:picMkLst>
        </pc:picChg>
        <pc:picChg chg="del mod">
          <ac:chgData name="Douglas Daniel Reinoso Peña" userId="60d62e81-f7d7-4b4c-92cc-63fb6a945bb4" providerId="ADAL" clId="{B815062A-1CE0-47B2-B6FA-D2837D2FEAA4}" dt="2024-11-19T13:32:15.073" v="3125" actId="478"/>
          <ac:picMkLst>
            <pc:docMk/>
            <pc:sldMk cId="2025418505" sldId="2147476753"/>
            <ac:picMk id="70" creationId="{702B4E33-6240-5257-C34B-FEDD572A7080}"/>
          </ac:picMkLst>
        </pc:picChg>
        <pc:picChg chg="del">
          <ac:chgData name="Douglas Daniel Reinoso Peña" userId="60d62e81-f7d7-4b4c-92cc-63fb6a945bb4" providerId="ADAL" clId="{B815062A-1CE0-47B2-B6FA-D2837D2FEAA4}" dt="2024-11-19T13:24:53.470" v="2864" actId="478"/>
          <ac:picMkLst>
            <pc:docMk/>
            <pc:sldMk cId="2025418505" sldId="2147476753"/>
            <ac:picMk id="72" creationId="{AC1C2C95-6848-1671-035A-44CAD6D95582}"/>
          </ac:picMkLst>
        </pc:picChg>
      </pc:sldChg>
      <pc:sldChg chg="new ord">
        <pc:chgData name="Douglas Daniel Reinoso Peña" userId="60d62e81-f7d7-4b4c-92cc-63fb6a945bb4" providerId="ADAL" clId="{B815062A-1CE0-47B2-B6FA-D2837D2FEAA4}" dt="2024-11-20T12:41:29.343" v="6697"/>
        <pc:sldMkLst>
          <pc:docMk/>
          <pc:sldMk cId="1495295941" sldId="2147476754"/>
        </pc:sldMkLst>
      </pc:sldChg>
      <pc:sldChg chg="addSp delSp modSp add mod">
        <pc:chgData name="Douglas Daniel Reinoso Peña" userId="60d62e81-f7d7-4b4c-92cc-63fb6a945bb4" providerId="ADAL" clId="{B815062A-1CE0-47B2-B6FA-D2837D2FEAA4}" dt="2024-11-19T12:29:02.100" v="1117"/>
        <pc:sldMkLst>
          <pc:docMk/>
          <pc:sldMk cId="743992531" sldId="2147476755"/>
        </pc:sldMkLst>
        <pc:spChg chg="add del mod modVis">
          <ac:chgData name="Douglas Daniel Reinoso Peña" userId="60d62e81-f7d7-4b4c-92cc-63fb6a945bb4" providerId="ADAL" clId="{B815062A-1CE0-47B2-B6FA-D2837D2FEAA4}" dt="2024-11-19T12:29:02.099" v="1115"/>
          <ac:spMkLst>
            <pc:docMk/>
            <pc:sldMk cId="743992531" sldId="2147476755"/>
            <ac:spMk id="2" creationId="{C799BA1E-23BA-6563-88F6-3CBD7CDA1DC0}"/>
          </ac:spMkLst>
        </pc:spChg>
        <pc:spChg chg="mod">
          <ac:chgData name="Douglas Daniel Reinoso Peña" userId="60d62e81-f7d7-4b4c-92cc-63fb6a945bb4" providerId="ADAL" clId="{B815062A-1CE0-47B2-B6FA-D2837D2FEAA4}" dt="2024-11-19T12:29:02.063" v="1094" actId="948"/>
          <ac:spMkLst>
            <pc:docMk/>
            <pc:sldMk cId="743992531" sldId="2147476755"/>
            <ac:spMk id="9" creationId="{DFE3ED91-CA5C-C0E9-7F28-09B09428983F}"/>
          </ac:spMkLst>
        </pc:spChg>
        <pc:graphicFrameChg chg="mod">
          <ac:chgData name="Douglas Daniel Reinoso Peña" userId="60d62e81-f7d7-4b4c-92cc-63fb6a945bb4" providerId="ADAL" clId="{B815062A-1CE0-47B2-B6FA-D2837D2FEAA4}" dt="2024-11-19T12:29:02.100" v="1117"/>
          <ac:graphicFrameMkLst>
            <pc:docMk/>
            <pc:sldMk cId="743992531" sldId="2147476755"/>
            <ac:graphicFrameMk id="4" creationId="{48192A73-A0D5-81C1-D959-8BF7AB8D0E8D}"/>
          </ac:graphicFrameMkLst>
        </pc:graphicFrameChg>
      </pc:sldChg>
      <pc:sldChg chg="addSp delSp modSp add del mod">
        <pc:chgData name="Douglas Daniel Reinoso Peña" userId="60d62e81-f7d7-4b4c-92cc-63fb6a945bb4" providerId="ADAL" clId="{B815062A-1CE0-47B2-B6FA-D2837D2FEAA4}" dt="2024-11-19T13:59:13.218" v="3781" actId="47"/>
        <pc:sldMkLst>
          <pc:docMk/>
          <pc:sldMk cId="356475889" sldId="2147476756"/>
        </pc:sldMkLst>
        <pc:spChg chg="mod">
          <ac:chgData name="Douglas Daniel Reinoso Peña" userId="60d62e81-f7d7-4b4c-92cc-63fb6a945bb4" providerId="ADAL" clId="{B815062A-1CE0-47B2-B6FA-D2837D2FEAA4}" dt="2024-11-19T12:58:26.589" v="2338" actId="948"/>
          <ac:spMkLst>
            <pc:docMk/>
            <pc:sldMk cId="356475889" sldId="2147476756"/>
            <ac:spMk id="2" creationId="{5762D1BF-BA87-D8FA-B975-DE703ED7898C}"/>
          </ac:spMkLst>
        </pc:spChg>
        <pc:spChg chg="add mod">
          <ac:chgData name="Douglas Daniel Reinoso Peña" userId="60d62e81-f7d7-4b4c-92cc-63fb6a945bb4" providerId="ADAL" clId="{B815062A-1CE0-47B2-B6FA-D2837D2FEAA4}" dt="2024-11-19T12:57:26.104" v="2189"/>
          <ac:spMkLst>
            <pc:docMk/>
            <pc:sldMk cId="356475889" sldId="2147476756"/>
            <ac:spMk id="3" creationId="{29E29160-100B-B2EE-A5B1-4CA2815CC49D}"/>
          </ac:spMkLst>
        </pc:spChg>
        <pc:spChg chg="add mod">
          <ac:chgData name="Douglas Daniel Reinoso Peña" userId="60d62e81-f7d7-4b4c-92cc-63fb6a945bb4" providerId="ADAL" clId="{B815062A-1CE0-47B2-B6FA-D2837D2FEAA4}" dt="2024-11-19T12:57:26.104" v="2189"/>
          <ac:spMkLst>
            <pc:docMk/>
            <pc:sldMk cId="356475889" sldId="2147476756"/>
            <ac:spMk id="4" creationId="{02148B78-5B6A-9206-1F16-2B4242E7C471}"/>
          </ac:spMkLst>
        </pc:spChg>
        <pc:spChg chg="add del mod">
          <ac:chgData name="Douglas Daniel Reinoso Peña" userId="60d62e81-f7d7-4b4c-92cc-63fb6a945bb4" providerId="ADAL" clId="{B815062A-1CE0-47B2-B6FA-D2837D2FEAA4}" dt="2024-11-19T12:57:44.113" v="2192" actId="478"/>
          <ac:spMkLst>
            <pc:docMk/>
            <pc:sldMk cId="356475889" sldId="2147476756"/>
            <ac:spMk id="5" creationId="{348201BC-4326-6DEA-0201-4341DD1F53FF}"/>
          </ac:spMkLst>
        </pc:spChg>
        <pc:spChg chg="del">
          <ac:chgData name="Douglas Daniel Reinoso Peña" userId="60d62e81-f7d7-4b4c-92cc-63fb6a945bb4" providerId="ADAL" clId="{B815062A-1CE0-47B2-B6FA-D2837D2FEAA4}" dt="2024-11-19T12:57:14.252" v="2188" actId="478"/>
          <ac:spMkLst>
            <pc:docMk/>
            <pc:sldMk cId="356475889" sldId="2147476756"/>
            <ac:spMk id="6" creationId="{565C01CA-67A2-6177-99F4-CBE7F00BC3CD}"/>
          </ac:spMkLst>
        </pc:spChg>
        <pc:spChg chg="add del mod">
          <ac:chgData name="Douglas Daniel Reinoso Peña" userId="60d62e81-f7d7-4b4c-92cc-63fb6a945bb4" providerId="ADAL" clId="{B815062A-1CE0-47B2-B6FA-D2837D2FEAA4}" dt="2024-11-19T12:57:41.504" v="2190" actId="478"/>
          <ac:spMkLst>
            <pc:docMk/>
            <pc:sldMk cId="356475889" sldId="2147476756"/>
            <ac:spMk id="9" creationId="{EF671B38-1BDA-8FE0-2A2A-1F866CB4BE26}"/>
          </ac:spMkLst>
        </pc:spChg>
        <pc:spChg chg="del">
          <ac:chgData name="Douglas Daniel Reinoso Peña" userId="60d62e81-f7d7-4b4c-92cc-63fb6a945bb4" providerId="ADAL" clId="{B815062A-1CE0-47B2-B6FA-D2837D2FEAA4}" dt="2024-11-19T12:57:14.252" v="2188" actId="478"/>
          <ac:spMkLst>
            <pc:docMk/>
            <pc:sldMk cId="356475889" sldId="2147476756"/>
            <ac:spMk id="14" creationId="{E7D68269-96F8-B81F-3F3A-0F879B99B512}"/>
          </ac:spMkLst>
        </pc:spChg>
        <pc:spChg chg="add mod">
          <ac:chgData name="Douglas Daniel Reinoso Peña" userId="60d62e81-f7d7-4b4c-92cc-63fb6a945bb4" providerId="ADAL" clId="{B815062A-1CE0-47B2-B6FA-D2837D2FEAA4}" dt="2024-11-19T12:57:26.104" v="2189"/>
          <ac:spMkLst>
            <pc:docMk/>
            <pc:sldMk cId="356475889" sldId="2147476756"/>
            <ac:spMk id="22" creationId="{8CA40A43-EF95-62CD-E331-EA7D60E764E5}"/>
          </ac:spMkLst>
        </pc:spChg>
        <pc:spChg chg="add mod">
          <ac:chgData name="Douglas Daniel Reinoso Peña" userId="60d62e81-f7d7-4b4c-92cc-63fb6a945bb4" providerId="ADAL" clId="{B815062A-1CE0-47B2-B6FA-D2837D2FEAA4}" dt="2024-11-19T12:57:26.104" v="2189"/>
          <ac:spMkLst>
            <pc:docMk/>
            <pc:sldMk cId="356475889" sldId="2147476756"/>
            <ac:spMk id="23" creationId="{DF3DA50A-DFFC-203F-F9B9-52AC337A32D7}"/>
          </ac:spMkLst>
        </pc:spChg>
        <pc:spChg chg="add mod">
          <ac:chgData name="Douglas Daniel Reinoso Peña" userId="60d62e81-f7d7-4b4c-92cc-63fb6a945bb4" providerId="ADAL" clId="{B815062A-1CE0-47B2-B6FA-D2837D2FEAA4}" dt="2024-11-19T12:57:26.104" v="2189"/>
          <ac:spMkLst>
            <pc:docMk/>
            <pc:sldMk cId="356475889" sldId="2147476756"/>
            <ac:spMk id="24" creationId="{FA0A0B3C-0683-9919-836F-1FC4E44335A1}"/>
          </ac:spMkLst>
        </pc:spChg>
        <pc:spChg chg="add mod">
          <ac:chgData name="Douglas Daniel Reinoso Peña" userId="60d62e81-f7d7-4b4c-92cc-63fb6a945bb4" providerId="ADAL" clId="{B815062A-1CE0-47B2-B6FA-D2837D2FEAA4}" dt="2024-11-19T12:57:26.104" v="2189"/>
          <ac:spMkLst>
            <pc:docMk/>
            <pc:sldMk cId="356475889" sldId="2147476756"/>
            <ac:spMk id="25" creationId="{F97A908F-603C-1BEB-A1CF-764934738C9D}"/>
          </ac:spMkLst>
        </pc:spChg>
        <pc:spChg chg="mod">
          <ac:chgData name="Douglas Daniel Reinoso Peña" userId="60d62e81-f7d7-4b4c-92cc-63fb6a945bb4" providerId="ADAL" clId="{B815062A-1CE0-47B2-B6FA-D2837D2FEAA4}" dt="2024-11-19T12:57:26.104" v="2189"/>
          <ac:spMkLst>
            <pc:docMk/>
            <pc:sldMk cId="356475889" sldId="2147476756"/>
            <ac:spMk id="30" creationId="{D7018025-3DEC-5C68-161C-8C87D1C605D5}"/>
          </ac:spMkLst>
        </pc:spChg>
        <pc:spChg chg="add mod">
          <ac:chgData name="Douglas Daniel Reinoso Peña" userId="60d62e81-f7d7-4b4c-92cc-63fb6a945bb4" providerId="ADAL" clId="{B815062A-1CE0-47B2-B6FA-D2837D2FEAA4}" dt="2024-11-19T13:16:14.692" v="2800" actId="5793"/>
          <ac:spMkLst>
            <pc:docMk/>
            <pc:sldMk cId="356475889" sldId="2147476756"/>
            <ac:spMk id="33" creationId="{9DD36322-E7DF-15FF-6167-7C32F6F34FE4}"/>
          </ac:spMkLst>
        </pc:spChg>
        <pc:spChg chg="add mod">
          <ac:chgData name="Douglas Daniel Reinoso Peña" userId="60d62e81-f7d7-4b4c-92cc-63fb6a945bb4" providerId="ADAL" clId="{B815062A-1CE0-47B2-B6FA-D2837D2FEAA4}" dt="2024-11-19T13:16:11.729" v="2798" actId="5793"/>
          <ac:spMkLst>
            <pc:docMk/>
            <pc:sldMk cId="356475889" sldId="2147476756"/>
            <ac:spMk id="34" creationId="{321B303F-248B-1997-382F-50BA5AD4ECD6}"/>
          </ac:spMkLst>
        </pc:spChg>
        <pc:spChg chg="add mod">
          <ac:chgData name="Douglas Daniel Reinoso Peña" userId="60d62e81-f7d7-4b4c-92cc-63fb6a945bb4" providerId="ADAL" clId="{B815062A-1CE0-47B2-B6FA-D2837D2FEAA4}" dt="2024-11-19T13:16:05.676" v="2796" actId="5793"/>
          <ac:spMkLst>
            <pc:docMk/>
            <pc:sldMk cId="356475889" sldId="2147476756"/>
            <ac:spMk id="35" creationId="{14538E43-4137-B4A7-76E2-87A688A0431B}"/>
          </ac:spMkLst>
        </pc:spChg>
        <pc:spChg chg="add del mod modVis">
          <ac:chgData name="Douglas Daniel Reinoso Peña" userId="60d62e81-f7d7-4b4c-92cc-63fb6a945bb4" providerId="ADAL" clId="{B815062A-1CE0-47B2-B6FA-D2837D2FEAA4}" dt="2024-11-19T12:58:21.741" v="2246"/>
          <ac:spMkLst>
            <pc:docMk/>
            <pc:sldMk cId="356475889" sldId="2147476756"/>
            <ac:spMk id="37" creationId="{FCE41A6A-21EA-3B6B-C6C5-A4035C9FD452}"/>
          </ac:spMkLst>
        </pc:spChg>
        <pc:spChg chg="add del mod modVis">
          <ac:chgData name="Douglas Daniel Reinoso Peña" userId="60d62e81-f7d7-4b4c-92cc-63fb6a945bb4" providerId="ADAL" clId="{B815062A-1CE0-47B2-B6FA-D2837D2FEAA4}" dt="2024-11-19T12:58:23.208" v="2276"/>
          <ac:spMkLst>
            <pc:docMk/>
            <pc:sldMk cId="356475889" sldId="2147476756"/>
            <ac:spMk id="38" creationId="{7617E589-A8E0-5786-B2C7-9501BDC53261}"/>
          </ac:spMkLst>
        </pc:spChg>
        <pc:spChg chg="add del mod modVis">
          <ac:chgData name="Douglas Daniel Reinoso Peña" userId="60d62e81-f7d7-4b4c-92cc-63fb6a945bb4" providerId="ADAL" clId="{B815062A-1CE0-47B2-B6FA-D2837D2FEAA4}" dt="2024-11-19T12:58:24.952" v="2308"/>
          <ac:spMkLst>
            <pc:docMk/>
            <pc:sldMk cId="356475889" sldId="2147476756"/>
            <ac:spMk id="39" creationId="{45635F53-8CC1-714B-6BE3-26882574D748}"/>
          </ac:spMkLst>
        </pc:spChg>
        <pc:spChg chg="add del mod modVis">
          <ac:chgData name="Douglas Daniel Reinoso Peña" userId="60d62e81-f7d7-4b4c-92cc-63fb6a945bb4" providerId="ADAL" clId="{B815062A-1CE0-47B2-B6FA-D2837D2FEAA4}" dt="2024-11-19T12:58:25.791" v="2334"/>
          <ac:spMkLst>
            <pc:docMk/>
            <pc:sldMk cId="356475889" sldId="2147476756"/>
            <ac:spMk id="40" creationId="{70FEE4FB-E1C0-6F37-5312-F68ED69D1016}"/>
          </ac:spMkLst>
        </pc:spChg>
        <pc:spChg chg="add del mod modVis">
          <ac:chgData name="Douglas Daniel Reinoso Peña" userId="60d62e81-f7d7-4b4c-92cc-63fb6a945bb4" providerId="ADAL" clId="{B815062A-1CE0-47B2-B6FA-D2837D2FEAA4}" dt="2024-11-19T12:58:26.608" v="2359"/>
          <ac:spMkLst>
            <pc:docMk/>
            <pc:sldMk cId="356475889" sldId="2147476756"/>
            <ac:spMk id="41" creationId="{DF2E85D8-F3D0-6548-8F7C-37F77449B7C6}"/>
          </ac:spMkLst>
        </pc:spChg>
        <pc:spChg chg="del">
          <ac:chgData name="Douglas Daniel Reinoso Peña" userId="60d62e81-f7d7-4b4c-92cc-63fb6a945bb4" providerId="ADAL" clId="{B815062A-1CE0-47B2-B6FA-D2837D2FEAA4}" dt="2024-11-19T12:57:14.252" v="2188" actId="478"/>
          <ac:spMkLst>
            <pc:docMk/>
            <pc:sldMk cId="356475889" sldId="2147476756"/>
            <ac:spMk id="105" creationId="{3E028422-E0F8-B47C-A6FF-6314373D550E}"/>
          </ac:spMkLst>
        </pc:spChg>
        <pc:spChg chg="del">
          <ac:chgData name="Douglas Daniel Reinoso Peña" userId="60d62e81-f7d7-4b4c-92cc-63fb6a945bb4" providerId="ADAL" clId="{B815062A-1CE0-47B2-B6FA-D2837D2FEAA4}" dt="2024-11-19T12:57:14.252" v="2188" actId="478"/>
          <ac:spMkLst>
            <pc:docMk/>
            <pc:sldMk cId="356475889" sldId="2147476756"/>
            <ac:spMk id="106" creationId="{39AE59AD-FE52-00D5-44C0-617BE8D961A0}"/>
          </ac:spMkLst>
        </pc:spChg>
        <pc:spChg chg="del">
          <ac:chgData name="Douglas Daniel Reinoso Peña" userId="60d62e81-f7d7-4b4c-92cc-63fb6a945bb4" providerId="ADAL" clId="{B815062A-1CE0-47B2-B6FA-D2837D2FEAA4}" dt="2024-11-19T12:57:14.252" v="2188" actId="478"/>
          <ac:spMkLst>
            <pc:docMk/>
            <pc:sldMk cId="356475889" sldId="2147476756"/>
            <ac:spMk id="108" creationId="{55930D64-A6AD-F118-C35B-07935819F769}"/>
          </ac:spMkLst>
        </pc:spChg>
        <pc:spChg chg="del">
          <ac:chgData name="Douglas Daniel Reinoso Peña" userId="60d62e81-f7d7-4b4c-92cc-63fb6a945bb4" providerId="ADAL" clId="{B815062A-1CE0-47B2-B6FA-D2837D2FEAA4}" dt="2024-11-19T12:57:14.252" v="2188" actId="478"/>
          <ac:spMkLst>
            <pc:docMk/>
            <pc:sldMk cId="356475889" sldId="2147476756"/>
            <ac:spMk id="109" creationId="{9119E9B9-D5E4-91C8-7123-CB1500506058}"/>
          </ac:spMkLst>
        </pc:spChg>
        <pc:spChg chg="del">
          <ac:chgData name="Douglas Daniel Reinoso Peña" userId="60d62e81-f7d7-4b4c-92cc-63fb6a945bb4" providerId="ADAL" clId="{B815062A-1CE0-47B2-B6FA-D2837D2FEAA4}" dt="2024-11-19T12:57:14.252" v="2188" actId="478"/>
          <ac:spMkLst>
            <pc:docMk/>
            <pc:sldMk cId="356475889" sldId="2147476756"/>
            <ac:spMk id="110" creationId="{745729F7-8996-290D-8C08-0E74A1D9BA25}"/>
          </ac:spMkLst>
        </pc:spChg>
        <pc:spChg chg="del">
          <ac:chgData name="Douglas Daniel Reinoso Peña" userId="60d62e81-f7d7-4b4c-92cc-63fb6a945bb4" providerId="ADAL" clId="{B815062A-1CE0-47B2-B6FA-D2837D2FEAA4}" dt="2024-11-19T12:57:14.252" v="2188" actId="478"/>
          <ac:spMkLst>
            <pc:docMk/>
            <pc:sldMk cId="356475889" sldId="2147476756"/>
            <ac:spMk id="111" creationId="{649C0DCC-9995-0AF3-6101-87CF7B5FC69A}"/>
          </ac:spMkLst>
        </pc:spChg>
        <pc:spChg chg="del">
          <ac:chgData name="Douglas Daniel Reinoso Peña" userId="60d62e81-f7d7-4b4c-92cc-63fb6a945bb4" providerId="ADAL" clId="{B815062A-1CE0-47B2-B6FA-D2837D2FEAA4}" dt="2024-11-19T12:57:14.252" v="2188" actId="478"/>
          <ac:spMkLst>
            <pc:docMk/>
            <pc:sldMk cId="356475889" sldId="2147476756"/>
            <ac:spMk id="113" creationId="{BFC2366F-D923-33E0-8C66-976C7D34943F}"/>
          </ac:spMkLst>
        </pc:spChg>
        <pc:grpChg chg="del">
          <ac:chgData name="Douglas Daniel Reinoso Peña" userId="60d62e81-f7d7-4b4c-92cc-63fb6a945bb4" providerId="ADAL" clId="{B815062A-1CE0-47B2-B6FA-D2837D2FEAA4}" dt="2024-11-19T12:57:14.252" v="2188" actId="478"/>
          <ac:grpSpMkLst>
            <pc:docMk/>
            <pc:sldMk cId="356475889" sldId="2147476756"/>
            <ac:grpSpMk id="8" creationId="{5E1290D5-DA90-9286-9499-E87FAF5E480D}"/>
          </ac:grpSpMkLst>
        </pc:grpChg>
        <pc:grpChg chg="add mod">
          <ac:chgData name="Douglas Daniel Reinoso Peña" userId="60d62e81-f7d7-4b4c-92cc-63fb6a945bb4" providerId="ADAL" clId="{B815062A-1CE0-47B2-B6FA-D2837D2FEAA4}" dt="2024-11-19T12:57:26.104" v="2189"/>
          <ac:grpSpMkLst>
            <pc:docMk/>
            <pc:sldMk cId="356475889" sldId="2147476756"/>
            <ac:grpSpMk id="27" creationId="{159FF9C1-CF22-D7F9-688C-1732F209A662}"/>
          </ac:grpSpMkLst>
        </pc:grpChg>
        <pc:grpChg chg="del">
          <ac:chgData name="Douglas Daniel Reinoso Peña" userId="60d62e81-f7d7-4b4c-92cc-63fb6a945bb4" providerId="ADAL" clId="{B815062A-1CE0-47B2-B6FA-D2837D2FEAA4}" dt="2024-11-19T12:57:14.252" v="2188" actId="478"/>
          <ac:grpSpMkLst>
            <pc:docMk/>
            <pc:sldMk cId="356475889" sldId="2147476756"/>
            <ac:grpSpMk id="46" creationId="{6D23BECC-A3EC-3842-99E1-9F1268C8AC55}"/>
          </ac:grpSpMkLst>
        </pc:grpChg>
        <pc:grpChg chg="del">
          <ac:chgData name="Douglas Daniel Reinoso Peña" userId="60d62e81-f7d7-4b4c-92cc-63fb6a945bb4" providerId="ADAL" clId="{B815062A-1CE0-47B2-B6FA-D2837D2FEAA4}" dt="2024-11-19T12:57:14.252" v="2188" actId="478"/>
          <ac:grpSpMkLst>
            <pc:docMk/>
            <pc:sldMk cId="356475889" sldId="2147476756"/>
            <ac:grpSpMk id="59" creationId="{32392030-1D4E-3A06-5B77-9F8BD61A551C}"/>
          </ac:grpSpMkLst>
        </pc:grpChg>
        <pc:grpChg chg="del">
          <ac:chgData name="Douglas Daniel Reinoso Peña" userId="60d62e81-f7d7-4b4c-92cc-63fb6a945bb4" providerId="ADAL" clId="{B815062A-1CE0-47B2-B6FA-D2837D2FEAA4}" dt="2024-11-19T12:57:14.252" v="2188" actId="478"/>
          <ac:grpSpMkLst>
            <pc:docMk/>
            <pc:sldMk cId="356475889" sldId="2147476756"/>
            <ac:grpSpMk id="73" creationId="{A338AB8B-5406-AE2F-8E6F-3381FDB00691}"/>
          </ac:grpSpMkLst>
        </pc:grpChg>
        <pc:grpChg chg="del">
          <ac:chgData name="Douglas Daniel Reinoso Peña" userId="60d62e81-f7d7-4b4c-92cc-63fb6a945bb4" providerId="ADAL" clId="{B815062A-1CE0-47B2-B6FA-D2837D2FEAA4}" dt="2024-11-19T12:57:14.252" v="2188" actId="478"/>
          <ac:grpSpMkLst>
            <pc:docMk/>
            <pc:sldMk cId="356475889" sldId="2147476756"/>
            <ac:grpSpMk id="76" creationId="{5306E111-1B52-13D3-5AB3-40640C186FE0}"/>
          </ac:grpSpMkLst>
        </pc:grpChg>
        <pc:grpChg chg="del">
          <ac:chgData name="Douglas Daniel Reinoso Peña" userId="60d62e81-f7d7-4b4c-92cc-63fb6a945bb4" providerId="ADAL" clId="{B815062A-1CE0-47B2-B6FA-D2837D2FEAA4}" dt="2024-11-19T12:57:14.252" v="2188" actId="478"/>
          <ac:grpSpMkLst>
            <pc:docMk/>
            <pc:sldMk cId="356475889" sldId="2147476756"/>
            <ac:grpSpMk id="79" creationId="{A06F4CFF-3FC0-4DC5-4DE2-7B56776759C2}"/>
          </ac:grpSpMkLst>
        </pc:grpChg>
        <pc:grpChg chg="del">
          <ac:chgData name="Douglas Daniel Reinoso Peña" userId="60d62e81-f7d7-4b4c-92cc-63fb6a945bb4" providerId="ADAL" clId="{B815062A-1CE0-47B2-B6FA-D2837D2FEAA4}" dt="2024-11-19T12:57:14.252" v="2188" actId="478"/>
          <ac:grpSpMkLst>
            <pc:docMk/>
            <pc:sldMk cId="356475889" sldId="2147476756"/>
            <ac:grpSpMk id="104" creationId="{FF8C8057-4032-DA6A-740E-43978151B531}"/>
          </ac:grpSpMkLst>
        </pc:grpChg>
        <pc:graphicFrameChg chg="mod">
          <ac:chgData name="Douglas Daniel Reinoso Peña" userId="60d62e81-f7d7-4b4c-92cc-63fb6a945bb4" providerId="ADAL" clId="{B815062A-1CE0-47B2-B6FA-D2837D2FEAA4}" dt="2024-11-19T13:49:43.705" v="3720"/>
          <ac:graphicFrameMkLst>
            <pc:docMk/>
            <pc:sldMk cId="356475889" sldId="2147476756"/>
            <ac:graphicFrameMk id="15" creationId="{FF1847F4-6864-5145-468B-566844A67C18}"/>
          </ac:graphicFrameMkLst>
        </pc:graphicFrameChg>
        <pc:picChg chg="add del mod">
          <ac:chgData name="Douglas Daniel Reinoso Peña" userId="60d62e81-f7d7-4b4c-92cc-63fb6a945bb4" providerId="ADAL" clId="{B815062A-1CE0-47B2-B6FA-D2837D2FEAA4}" dt="2024-11-19T12:57:42.705" v="2191" actId="478"/>
          <ac:picMkLst>
            <pc:docMk/>
            <pc:sldMk cId="356475889" sldId="2147476756"/>
            <ac:picMk id="26" creationId="{0C7BBA11-70DF-504F-A2A8-D886F15C7539}"/>
          </ac:picMkLst>
        </pc:picChg>
        <pc:picChg chg="mod">
          <ac:chgData name="Douglas Daniel Reinoso Peña" userId="60d62e81-f7d7-4b4c-92cc-63fb6a945bb4" providerId="ADAL" clId="{B815062A-1CE0-47B2-B6FA-D2837D2FEAA4}" dt="2024-11-19T12:57:26.104" v="2189"/>
          <ac:picMkLst>
            <pc:docMk/>
            <pc:sldMk cId="356475889" sldId="2147476756"/>
            <ac:picMk id="28" creationId="{778B2DF6-FE43-081B-1739-E4952A4796CC}"/>
          </ac:picMkLst>
        </pc:picChg>
        <pc:picChg chg="mod">
          <ac:chgData name="Douglas Daniel Reinoso Peña" userId="60d62e81-f7d7-4b4c-92cc-63fb6a945bb4" providerId="ADAL" clId="{B815062A-1CE0-47B2-B6FA-D2837D2FEAA4}" dt="2024-11-19T12:57:26.104" v="2189"/>
          <ac:picMkLst>
            <pc:docMk/>
            <pc:sldMk cId="356475889" sldId="2147476756"/>
            <ac:picMk id="29" creationId="{C3F0CAFF-146E-9856-639B-BD7C53F30DE1}"/>
          </ac:picMkLst>
        </pc:picChg>
        <pc:picChg chg="mod">
          <ac:chgData name="Douglas Daniel Reinoso Peña" userId="60d62e81-f7d7-4b4c-92cc-63fb6a945bb4" providerId="ADAL" clId="{B815062A-1CE0-47B2-B6FA-D2837D2FEAA4}" dt="2024-11-19T12:57:26.104" v="2189"/>
          <ac:picMkLst>
            <pc:docMk/>
            <pc:sldMk cId="356475889" sldId="2147476756"/>
            <ac:picMk id="31" creationId="{5DDEAF04-2334-2108-799B-6B7D19CB2900}"/>
          </ac:picMkLst>
        </pc:picChg>
        <pc:picChg chg="add mod">
          <ac:chgData name="Douglas Daniel Reinoso Peña" userId="60d62e81-f7d7-4b4c-92cc-63fb6a945bb4" providerId="ADAL" clId="{B815062A-1CE0-47B2-B6FA-D2837D2FEAA4}" dt="2024-11-19T12:57:26.104" v="2189"/>
          <ac:picMkLst>
            <pc:docMk/>
            <pc:sldMk cId="356475889" sldId="2147476756"/>
            <ac:picMk id="32" creationId="{DB204173-37E5-A4CA-8497-AB1817AB7900}"/>
          </ac:picMkLst>
        </pc:picChg>
        <pc:picChg chg="add mod">
          <ac:chgData name="Douglas Daniel Reinoso Peña" userId="60d62e81-f7d7-4b4c-92cc-63fb6a945bb4" providerId="ADAL" clId="{B815062A-1CE0-47B2-B6FA-D2837D2FEAA4}" dt="2024-11-19T12:58:07.119" v="2203"/>
          <ac:picMkLst>
            <pc:docMk/>
            <pc:sldMk cId="356475889" sldId="2147476756"/>
            <ac:picMk id="36" creationId="{386E74A1-95A4-921F-921B-E6443863D1DD}"/>
          </ac:picMkLst>
        </pc:picChg>
        <pc:cxnChg chg="add del mod">
          <ac:chgData name="Douglas Daniel Reinoso Peña" userId="60d62e81-f7d7-4b4c-92cc-63fb6a945bb4" providerId="ADAL" clId="{B815062A-1CE0-47B2-B6FA-D2837D2FEAA4}" dt="2024-11-19T12:57:51.562" v="2198" actId="478"/>
          <ac:cxnSpMkLst>
            <pc:docMk/>
            <pc:sldMk cId="356475889" sldId="2147476756"/>
            <ac:cxnSpMk id="10" creationId="{4C18B8BE-C764-49AB-855A-2CB1726290EF}"/>
          </ac:cxnSpMkLst>
        </pc:cxnChg>
        <pc:cxnChg chg="add del mod">
          <ac:chgData name="Douglas Daniel Reinoso Peña" userId="60d62e81-f7d7-4b4c-92cc-63fb6a945bb4" providerId="ADAL" clId="{B815062A-1CE0-47B2-B6FA-D2837D2FEAA4}" dt="2024-11-19T12:57:52.790" v="2199" actId="478"/>
          <ac:cxnSpMkLst>
            <pc:docMk/>
            <pc:sldMk cId="356475889" sldId="2147476756"/>
            <ac:cxnSpMk id="11" creationId="{31F0B427-A512-CC6F-A22A-C2DA04AAF72F}"/>
          </ac:cxnSpMkLst>
        </pc:cxnChg>
        <pc:cxnChg chg="add del mod">
          <ac:chgData name="Douglas Daniel Reinoso Peña" userId="60d62e81-f7d7-4b4c-92cc-63fb6a945bb4" providerId="ADAL" clId="{B815062A-1CE0-47B2-B6FA-D2837D2FEAA4}" dt="2024-11-19T12:57:58.215" v="2202" actId="478"/>
          <ac:cxnSpMkLst>
            <pc:docMk/>
            <pc:sldMk cId="356475889" sldId="2147476756"/>
            <ac:cxnSpMk id="12" creationId="{840E934A-17EF-3A69-E2AF-598C64DA2FEB}"/>
          </ac:cxnSpMkLst>
        </pc:cxnChg>
        <pc:cxnChg chg="add del mod">
          <ac:chgData name="Douglas Daniel Reinoso Peña" userId="60d62e81-f7d7-4b4c-92cc-63fb6a945bb4" providerId="ADAL" clId="{B815062A-1CE0-47B2-B6FA-D2837D2FEAA4}" dt="2024-11-19T12:57:56.658" v="2201" actId="478"/>
          <ac:cxnSpMkLst>
            <pc:docMk/>
            <pc:sldMk cId="356475889" sldId="2147476756"/>
            <ac:cxnSpMk id="13" creationId="{64E8068D-65E6-3684-1179-BAD3DBDDEE52}"/>
          </ac:cxnSpMkLst>
        </pc:cxnChg>
        <pc:cxnChg chg="add del mod">
          <ac:chgData name="Douglas Daniel Reinoso Peña" userId="60d62e81-f7d7-4b4c-92cc-63fb6a945bb4" providerId="ADAL" clId="{B815062A-1CE0-47B2-B6FA-D2837D2FEAA4}" dt="2024-11-19T12:57:48.891" v="2196" actId="478"/>
          <ac:cxnSpMkLst>
            <pc:docMk/>
            <pc:sldMk cId="356475889" sldId="2147476756"/>
            <ac:cxnSpMk id="16" creationId="{A1BE7C31-4737-371B-B62F-573F6ADDBF81}"/>
          </ac:cxnSpMkLst>
        </pc:cxnChg>
        <pc:cxnChg chg="add del mod">
          <ac:chgData name="Douglas Daniel Reinoso Peña" userId="60d62e81-f7d7-4b4c-92cc-63fb6a945bb4" providerId="ADAL" clId="{B815062A-1CE0-47B2-B6FA-D2837D2FEAA4}" dt="2024-11-19T12:57:46.369" v="2194" actId="478"/>
          <ac:cxnSpMkLst>
            <pc:docMk/>
            <pc:sldMk cId="356475889" sldId="2147476756"/>
            <ac:cxnSpMk id="17" creationId="{EA2F4257-4FAB-0276-2FD6-47EB6474D6BB}"/>
          </ac:cxnSpMkLst>
        </pc:cxnChg>
        <pc:cxnChg chg="add del mod">
          <ac:chgData name="Douglas Daniel Reinoso Peña" userId="60d62e81-f7d7-4b4c-92cc-63fb6a945bb4" providerId="ADAL" clId="{B815062A-1CE0-47B2-B6FA-D2837D2FEAA4}" dt="2024-11-19T12:57:45.424" v="2193" actId="478"/>
          <ac:cxnSpMkLst>
            <pc:docMk/>
            <pc:sldMk cId="356475889" sldId="2147476756"/>
            <ac:cxnSpMk id="18" creationId="{014B7AFE-2B2C-49AA-A130-3203C951544A}"/>
          </ac:cxnSpMkLst>
        </pc:cxnChg>
        <pc:cxnChg chg="add del mod">
          <ac:chgData name="Douglas Daniel Reinoso Peña" userId="60d62e81-f7d7-4b4c-92cc-63fb6a945bb4" providerId="ADAL" clId="{B815062A-1CE0-47B2-B6FA-D2837D2FEAA4}" dt="2024-11-19T12:57:50.198" v="2197" actId="478"/>
          <ac:cxnSpMkLst>
            <pc:docMk/>
            <pc:sldMk cId="356475889" sldId="2147476756"/>
            <ac:cxnSpMk id="19" creationId="{C21A5D88-DF6B-3B01-277A-16223417215B}"/>
          </ac:cxnSpMkLst>
        </pc:cxnChg>
        <pc:cxnChg chg="add del mod">
          <ac:chgData name="Douglas Daniel Reinoso Peña" userId="60d62e81-f7d7-4b4c-92cc-63fb6a945bb4" providerId="ADAL" clId="{B815062A-1CE0-47B2-B6FA-D2837D2FEAA4}" dt="2024-11-19T12:57:47.670" v="2195" actId="478"/>
          <ac:cxnSpMkLst>
            <pc:docMk/>
            <pc:sldMk cId="356475889" sldId="2147476756"/>
            <ac:cxnSpMk id="20" creationId="{47128871-15AE-8F1A-002B-76ABAC2AE141}"/>
          </ac:cxnSpMkLst>
        </pc:cxnChg>
        <pc:cxnChg chg="add del mod">
          <ac:chgData name="Douglas Daniel Reinoso Peña" userId="60d62e81-f7d7-4b4c-92cc-63fb6a945bb4" providerId="ADAL" clId="{B815062A-1CE0-47B2-B6FA-D2837D2FEAA4}" dt="2024-11-19T12:57:54.247" v="2200" actId="478"/>
          <ac:cxnSpMkLst>
            <pc:docMk/>
            <pc:sldMk cId="356475889" sldId="2147476756"/>
            <ac:cxnSpMk id="21" creationId="{B4475745-B6F9-DE13-0D0E-3B78F9414D05}"/>
          </ac:cxnSpMkLst>
        </pc:cxnChg>
      </pc:sldChg>
      <pc:sldChg chg="addSp delSp modSp add del mod ord">
        <pc:chgData name="Douglas Daniel Reinoso Peña" userId="60d62e81-f7d7-4b4c-92cc-63fb6a945bb4" providerId="ADAL" clId="{B815062A-1CE0-47B2-B6FA-D2837D2FEAA4}" dt="2024-11-20T12:31:09.924" v="6466" actId="47"/>
        <pc:sldMkLst>
          <pc:docMk/>
          <pc:sldMk cId="2709833043" sldId="2147476756"/>
        </pc:sldMkLst>
        <pc:spChg chg="add del mod modVis">
          <ac:chgData name="Douglas Daniel Reinoso Peña" userId="60d62e81-f7d7-4b4c-92cc-63fb6a945bb4" providerId="ADAL" clId="{B815062A-1CE0-47B2-B6FA-D2837D2FEAA4}" dt="2024-11-19T14:15:18.073" v="4168"/>
          <ac:spMkLst>
            <pc:docMk/>
            <pc:sldMk cId="2709833043" sldId="2147476756"/>
            <ac:spMk id="2" creationId="{06400EA2-4B6B-BFDD-2DC0-CCE5A28F9566}"/>
          </ac:spMkLst>
        </pc:spChg>
        <pc:spChg chg="add del mod modVis">
          <ac:chgData name="Douglas Daniel Reinoso Peña" userId="60d62e81-f7d7-4b4c-92cc-63fb6a945bb4" providerId="ADAL" clId="{B815062A-1CE0-47B2-B6FA-D2837D2FEAA4}" dt="2024-11-19T14:15:19.874" v="4198"/>
          <ac:spMkLst>
            <pc:docMk/>
            <pc:sldMk cId="2709833043" sldId="2147476756"/>
            <ac:spMk id="3" creationId="{BFDD97A1-9B1B-9F87-F249-69F8A5DD02DB}"/>
          </ac:spMkLst>
        </pc:spChg>
        <pc:spChg chg="add del mod modVis">
          <ac:chgData name="Douglas Daniel Reinoso Peña" userId="60d62e81-f7d7-4b4c-92cc-63fb6a945bb4" providerId="ADAL" clId="{B815062A-1CE0-47B2-B6FA-D2837D2FEAA4}" dt="2024-11-19T14:15:20.586" v="4224"/>
          <ac:spMkLst>
            <pc:docMk/>
            <pc:sldMk cId="2709833043" sldId="2147476756"/>
            <ac:spMk id="5" creationId="{0B527823-6565-F7DF-452F-AC23D65222F1}"/>
          </ac:spMkLst>
        </pc:spChg>
        <pc:spChg chg="add del mod modVis">
          <ac:chgData name="Douglas Daniel Reinoso Peña" userId="60d62e81-f7d7-4b4c-92cc-63fb6a945bb4" providerId="ADAL" clId="{B815062A-1CE0-47B2-B6FA-D2837D2FEAA4}" dt="2024-11-19T14:15:21.825" v="4251"/>
          <ac:spMkLst>
            <pc:docMk/>
            <pc:sldMk cId="2709833043" sldId="2147476756"/>
            <ac:spMk id="6" creationId="{6DCDFCD0-8573-B4AD-8A5D-878100E0F741}"/>
          </ac:spMkLst>
        </pc:spChg>
        <pc:spChg chg="add del mod modVis">
          <ac:chgData name="Douglas Daniel Reinoso Peña" userId="60d62e81-f7d7-4b4c-92cc-63fb6a945bb4" providerId="ADAL" clId="{B815062A-1CE0-47B2-B6FA-D2837D2FEAA4}" dt="2024-11-19T14:15:25.863" v="4299"/>
          <ac:spMkLst>
            <pc:docMk/>
            <pc:sldMk cId="2709833043" sldId="2147476756"/>
            <ac:spMk id="7" creationId="{68E39289-C4BD-76F4-A133-FC4D0138B9E8}"/>
          </ac:spMkLst>
        </pc:spChg>
        <pc:spChg chg="mod">
          <ac:chgData name="Douglas Daniel Reinoso Peña" userId="60d62e81-f7d7-4b4c-92cc-63fb6a945bb4" providerId="ADAL" clId="{B815062A-1CE0-47B2-B6FA-D2837D2FEAA4}" dt="2024-11-19T14:15:25.841" v="4278" actId="948"/>
          <ac:spMkLst>
            <pc:docMk/>
            <pc:sldMk cId="2709833043" sldId="2147476756"/>
            <ac:spMk id="9" creationId="{FA553A8F-0F3C-9C15-9722-F7DC3D628EE8}"/>
          </ac:spMkLst>
        </pc:spChg>
        <pc:graphicFrameChg chg="mod">
          <ac:chgData name="Douglas Daniel Reinoso Peña" userId="60d62e81-f7d7-4b4c-92cc-63fb6a945bb4" providerId="ADAL" clId="{B815062A-1CE0-47B2-B6FA-D2837D2FEAA4}" dt="2024-11-19T14:15:25.864" v="4301"/>
          <ac:graphicFrameMkLst>
            <pc:docMk/>
            <pc:sldMk cId="2709833043" sldId="2147476756"/>
            <ac:graphicFrameMk id="4" creationId="{19A16EFD-D3C6-AD43-9216-41F846B75E6C}"/>
          </ac:graphicFrameMkLst>
        </pc:graphicFrameChg>
      </pc:sldChg>
      <pc:sldChg chg="addSp delSp modSp new del mod modShow">
        <pc:chgData name="Douglas Daniel Reinoso Peña" userId="60d62e81-f7d7-4b4c-92cc-63fb6a945bb4" providerId="ADAL" clId="{B815062A-1CE0-47B2-B6FA-D2837D2FEAA4}" dt="2024-11-19T20:46:56.068" v="6296" actId="47"/>
        <pc:sldMkLst>
          <pc:docMk/>
          <pc:sldMk cId="1237261015" sldId="2147476757"/>
        </pc:sldMkLst>
        <pc:spChg chg="mod">
          <ac:chgData name="Douglas Daniel Reinoso Peña" userId="60d62e81-f7d7-4b4c-92cc-63fb6a945bb4" providerId="ADAL" clId="{B815062A-1CE0-47B2-B6FA-D2837D2FEAA4}" dt="2024-11-19T14:35:43.676" v="4479" actId="948"/>
          <ac:spMkLst>
            <pc:docMk/>
            <pc:sldMk cId="1237261015" sldId="2147476757"/>
            <ac:spMk id="2" creationId="{981B87E8-42BE-4111-23C9-39E91C002759}"/>
          </ac:spMkLst>
        </pc:spChg>
        <pc:spChg chg="add del mod modVis">
          <ac:chgData name="Douglas Daniel Reinoso Peña" userId="60d62e81-f7d7-4b4c-92cc-63fb6a945bb4" providerId="ADAL" clId="{B815062A-1CE0-47B2-B6FA-D2837D2FEAA4}" dt="2024-11-19T14:35:43.694" v="4500"/>
          <ac:spMkLst>
            <pc:docMk/>
            <pc:sldMk cId="1237261015" sldId="2147476757"/>
            <ac:spMk id="5" creationId="{BCE51749-57DD-27DC-B98F-3C67414AAD4F}"/>
          </ac:spMkLst>
        </pc:spChg>
        <pc:graphicFrameChg chg="add mod modGraphic">
          <ac:chgData name="Douglas Daniel Reinoso Peña" userId="60d62e81-f7d7-4b4c-92cc-63fb6a945bb4" providerId="ADAL" clId="{B815062A-1CE0-47B2-B6FA-D2837D2FEAA4}" dt="2024-11-19T14:59:16.051" v="4778" actId="14734"/>
          <ac:graphicFrameMkLst>
            <pc:docMk/>
            <pc:sldMk cId="1237261015" sldId="2147476757"/>
            <ac:graphicFrameMk id="3" creationId="{A165AF87-DE30-3589-FA0B-91DA643C8162}"/>
          </ac:graphicFrameMkLst>
        </pc:graphicFrameChg>
        <pc:graphicFrameChg chg="add mod ord modVis">
          <ac:chgData name="Douglas Daniel Reinoso Peña" userId="60d62e81-f7d7-4b4c-92cc-63fb6a945bb4" providerId="ADAL" clId="{B815062A-1CE0-47B2-B6FA-D2837D2FEAA4}" dt="2024-11-19T14:35:43.695" v="4502"/>
          <ac:graphicFrameMkLst>
            <pc:docMk/>
            <pc:sldMk cId="1237261015" sldId="2147476757"/>
            <ac:graphicFrameMk id="4" creationId="{1CEEE79D-1EB6-6398-7FF2-27A1E497B74D}"/>
          </ac:graphicFrameMkLst>
        </pc:graphicFrameChg>
      </pc:sldChg>
      <pc:sldChg chg="addSp delSp modSp add mod modClrScheme modShow chgLayout">
        <pc:chgData name="Douglas Daniel Reinoso Peña" userId="60d62e81-f7d7-4b4c-92cc-63fb6a945bb4" providerId="ADAL" clId="{B815062A-1CE0-47B2-B6FA-D2837D2FEAA4}" dt="2024-11-19T19:42:33.791" v="4919" actId="729"/>
        <pc:sldMkLst>
          <pc:docMk/>
          <pc:sldMk cId="2921401428" sldId="2147476758"/>
        </pc:sldMkLst>
        <pc:spChg chg="add del mod ord">
          <ac:chgData name="Douglas Daniel Reinoso Peña" userId="60d62e81-f7d7-4b4c-92cc-63fb6a945bb4" providerId="ADAL" clId="{B815062A-1CE0-47B2-B6FA-D2837D2FEAA4}" dt="2024-11-19T19:42:20.330" v="4912" actId="700"/>
          <ac:spMkLst>
            <pc:docMk/>
            <pc:sldMk cId="2921401428" sldId="2147476758"/>
            <ac:spMk id="2" creationId="{00345496-592D-3CD0-6CB4-EF2296346FA0}"/>
          </ac:spMkLst>
        </pc:spChg>
        <pc:graphicFrameChg chg="mod">
          <ac:chgData name="Douglas Daniel Reinoso Peña" userId="60d62e81-f7d7-4b4c-92cc-63fb6a945bb4" providerId="ADAL" clId="{B815062A-1CE0-47B2-B6FA-D2837D2FEAA4}" dt="2024-11-19T19:42:28.278" v="4916"/>
          <ac:graphicFrameMkLst>
            <pc:docMk/>
            <pc:sldMk cId="2921401428" sldId="2147476758"/>
            <ac:graphicFrameMk id="4" creationId="{FB764C80-F2E2-BE05-B4CA-07BBD8C4F72E}"/>
          </ac:graphicFrameMkLst>
        </pc:graphicFrameChg>
      </pc:sldChg>
      <pc:sldChg chg="addSp delSp modSp add mod">
        <pc:chgData name="Douglas Daniel Reinoso Peña" userId="60d62e81-f7d7-4b4c-92cc-63fb6a945bb4" providerId="ADAL" clId="{B815062A-1CE0-47B2-B6FA-D2837D2FEAA4}" dt="2024-11-20T14:47:41.945" v="7134" actId="20577"/>
        <pc:sldMkLst>
          <pc:docMk/>
          <pc:sldMk cId="3186150750" sldId="2147476759"/>
        </pc:sldMkLst>
        <pc:spChg chg="add mod ord">
          <ac:chgData name="Douglas Daniel Reinoso Peña" userId="60d62e81-f7d7-4b4c-92cc-63fb6a945bb4" providerId="ADAL" clId="{B815062A-1CE0-47B2-B6FA-D2837D2FEAA4}" dt="2024-11-20T14:46:01.849" v="7038" actId="1036"/>
          <ac:spMkLst>
            <pc:docMk/>
            <pc:sldMk cId="3186150750" sldId="2147476759"/>
            <ac:spMk id="2" creationId="{1EC1DB70-B042-37CB-A616-5C020176BB1C}"/>
          </ac:spMkLst>
        </pc:spChg>
        <pc:spChg chg="mod ord">
          <ac:chgData name="Douglas Daniel Reinoso Peña" userId="60d62e81-f7d7-4b4c-92cc-63fb6a945bb4" providerId="ADAL" clId="{B815062A-1CE0-47B2-B6FA-D2837D2FEAA4}" dt="2024-11-19T20:28:13.068" v="6258" actId="1036"/>
          <ac:spMkLst>
            <pc:docMk/>
            <pc:sldMk cId="3186150750" sldId="2147476759"/>
            <ac:spMk id="3" creationId="{F8AC4DC0-48DF-0A85-2FF7-55AD22D0673E}"/>
          </ac:spMkLst>
        </pc:spChg>
        <pc:spChg chg="mod ord">
          <ac:chgData name="Douglas Daniel Reinoso Peña" userId="60d62e81-f7d7-4b4c-92cc-63fb6a945bb4" providerId="ADAL" clId="{B815062A-1CE0-47B2-B6FA-D2837D2FEAA4}" dt="2024-11-20T12:28:56.206" v="6423" actId="1076"/>
          <ac:spMkLst>
            <pc:docMk/>
            <pc:sldMk cId="3186150750" sldId="2147476759"/>
            <ac:spMk id="4" creationId="{76ADBF61-5390-4784-A41B-F425DB92112D}"/>
          </ac:spMkLst>
        </pc:spChg>
        <pc:spChg chg="add mod ord">
          <ac:chgData name="Douglas Daniel Reinoso Peña" userId="60d62e81-f7d7-4b4c-92cc-63fb6a945bb4" providerId="ADAL" clId="{B815062A-1CE0-47B2-B6FA-D2837D2FEAA4}" dt="2024-11-20T14:46:01.849" v="7038" actId="1036"/>
          <ac:spMkLst>
            <pc:docMk/>
            <pc:sldMk cId="3186150750" sldId="2147476759"/>
            <ac:spMk id="6" creationId="{4BE5ED65-5C0E-E399-BCB3-539D415E41B3}"/>
          </ac:spMkLst>
        </pc:spChg>
        <pc:spChg chg="mod ord">
          <ac:chgData name="Douglas Daniel Reinoso Peña" userId="60d62e81-f7d7-4b4c-92cc-63fb6a945bb4" providerId="ADAL" clId="{B815062A-1CE0-47B2-B6FA-D2837D2FEAA4}" dt="2024-11-19T20:25:42.357" v="6067"/>
          <ac:spMkLst>
            <pc:docMk/>
            <pc:sldMk cId="3186150750" sldId="2147476759"/>
            <ac:spMk id="7" creationId="{513F04A3-0DD5-838D-3ACF-6EC455FAA1C7}"/>
          </ac:spMkLst>
        </pc:spChg>
        <pc:spChg chg="add mod ord">
          <ac:chgData name="Douglas Daniel Reinoso Peña" userId="60d62e81-f7d7-4b4c-92cc-63fb6a945bb4" providerId="ADAL" clId="{B815062A-1CE0-47B2-B6FA-D2837D2FEAA4}" dt="2024-11-20T14:46:01.849" v="7038" actId="1036"/>
          <ac:spMkLst>
            <pc:docMk/>
            <pc:sldMk cId="3186150750" sldId="2147476759"/>
            <ac:spMk id="8" creationId="{A1A2C379-BF91-CA18-B3FA-5C961F113DCA}"/>
          </ac:spMkLst>
        </pc:spChg>
        <pc:spChg chg="add mod">
          <ac:chgData name="Douglas Daniel Reinoso Peña" userId="60d62e81-f7d7-4b4c-92cc-63fb6a945bb4" providerId="ADAL" clId="{B815062A-1CE0-47B2-B6FA-D2837D2FEAA4}" dt="2024-11-19T19:51:19.708" v="5191"/>
          <ac:spMkLst>
            <pc:docMk/>
            <pc:sldMk cId="3186150750" sldId="2147476759"/>
            <ac:spMk id="10" creationId="{B23D92F5-D2FB-E3D1-8DE8-C4D011C1093D}"/>
          </ac:spMkLst>
        </pc:spChg>
        <pc:spChg chg="mod ord">
          <ac:chgData name="Douglas Daniel Reinoso Peña" userId="60d62e81-f7d7-4b4c-92cc-63fb6a945bb4" providerId="ADAL" clId="{B815062A-1CE0-47B2-B6FA-D2837D2FEAA4}" dt="2024-11-19T20:26:27.692" v="6114" actId="948"/>
          <ac:spMkLst>
            <pc:docMk/>
            <pc:sldMk cId="3186150750" sldId="2147476759"/>
            <ac:spMk id="11" creationId="{28299D7B-B895-FE0B-71C6-714C019AEB69}"/>
          </ac:spMkLst>
        </pc:spChg>
        <pc:spChg chg="add mod">
          <ac:chgData name="Douglas Daniel Reinoso Peña" userId="60d62e81-f7d7-4b4c-92cc-63fb6a945bb4" providerId="ADAL" clId="{B815062A-1CE0-47B2-B6FA-D2837D2FEAA4}" dt="2024-11-19T19:51:19.708" v="5191"/>
          <ac:spMkLst>
            <pc:docMk/>
            <pc:sldMk cId="3186150750" sldId="2147476759"/>
            <ac:spMk id="12" creationId="{6BDA1DEB-7C84-A0D5-9DD0-C6BAFA29B6A3}"/>
          </ac:spMkLst>
        </pc:spChg>
        <pc:spChg chg="add del mod ord">
          <ac:chgData name="Douglas Daniel Reinoso Peña" userId="60d62e81-f7d7-4b4c-92cc-63fb6a945bb4" providerId="ADAL" clId="{B815062A-1CE0-47B2-B6FA-D2837D2FEAA4}" dt="2024-11-19T20:19:42.458" v="5856" actId="478"/>
          <ac:spMkLst>
            <pc:docMk/>
            <pc:sldMk cId="3186150750" sldId="2147476759"/>
            <ac:spMk id="14" creationId="{6A06E5D4-77D3-ACD1-2938-55DB00745EEB}"/>
          </ac:spMkLst>
        </pc:spChg>
        <pc:spChg chg="del mod ord">
          <ac:chgData name="Douglas Daniel Reinoso Peña" userId="60d62e81-f7d7-4b4c-92cc-63fb6a945bb4" providerId="ADAL" clId="{B815062A-1CE0-47B2-B6FA-D2837D2FEAA4}" dt="2024-11-19T20:19:18.023" v="5851" actId="478"/>
          <ac:spMkLst>
            <pc:docMk/>
            <pc:sldMk cId="3186150750" sldId="2147476759"/>
            <ac:spMk id="16" creationId="{EDA9AAC2-A652-3851-81F5-AD9740DB0E83}"/>
          </ac:spMkLst>
        </pc:spChg>
        <pc:spChg chg="del mod ord">
          <ac:chgData name="Douglas Daniel Reinoso Peña" userId="60d62e81-f7d7-4b4c-92cc-63fb6a945bb4" providerId="ADAL" clId="{B815062A-1CE0-47B2-B6FA-D2837D2FEAA4}" dt="2024-11-19T20:19:19.879" v="5853" actId="478"/>
          <ac:spMkLst>
            <pc:docMk/>
            <pc:sldMk cId="3186150750" sldId="2147476759"/>
            <ac:spMk id="17" creationId="{620DE768-8F78-094C-DBF6-475903DE0F2A}"/>
          </ac:spMkLst>
        </pc:spChg>
        <pc:spChg chg="del">
          <ac:chgData name="Douglas Daniel Reinoso Peña" userId="60d62e81-f7d7-4b4c-92cc-63fb6a945bb4" providerId="ADAL" clId="{B815062A-1CE0-47B2-B6FA-D2837D2FEAA4}" dt="2024-11-19T19:49:54.263" v="4978" actId="478"/>
          <ac:spMkLst>
            <pc:docMk/>
            <pc:sldMk cId="3186150750" sldId="2147476759"/>
            <ac:spMk id="18" creationId="{B1DBEEE7-AC50-F7E6-1B21-9F39D271A5D8}"/>
          </ac:spMkLst>
        </pc:spChg>
        <pc:spChg chg="del mod ord">
          <ac:chgData name="Douglas Daniel Reinoso Peña" userId="60d62e81-f7d7-4b4c-92cc-63fb6a945bb4" providerId="ADAL" clId="{B815062A-1CE0-47B2-B6FA-D2837D2FEAA4}" dt="2024-11-19T20:19:21.547" v="5854" actId="478"/>
          <ac:spMkLst>
            <pc:docMk/>
            <pc:sldMk cId="3186150750" sldId="2147476759"/>
            <ac:spMk id="19" creationId="{04169A90-7949-5D94-C304-124BCC41492F}"/>
          </ac:spMkLst>
        </pc:spChg>
        <pc:spChg chg="mod ord">
          <ac:chgData name="Douglas Daniel Reinoso Peña" userId="60d62e81-f7d7-4b4c-92cc-63fb6a945bb4" providerId="ADAL" clId="{B815062A-1CE0-47B2-B6FA-D2837D2FEAA4}" dt="2024-11-20T13:21:51.365" v="6722" actId="1035"/>
          <ac:spMkLst>
            <pc:docMk/>
            <pc:sldMk cId="3186150750" sldId="2147476759"/>
            <ac:spMk id="20" creationId="{EDE16E6C-3343-850A-EBCE-FCAB3BBC8B0A}"/>
          </ac:spMkLst>
        </pc:spChg>
        <pc:spChg chg="add mod ord">
          <ac:chgData name="Douglas Daniel Reinoso Peña" userId="60d62e81-f7d7-4b4c-92cc-63fb6a945bb4" providerId="ADAL" clId="{B815062A-1CE0-47B2-B6FA-D2837D2FEAA4}" dt="2024-11-20T14:46:10.733" v="7060" actId="1035"/>
          <ac:spMkLst>
            <pc:docMk/>
            <pc:sldMk cId="3186150750" sldId="2147476759"/>
            <ac:spMk id="21" creationId="{7D8E1137-E08A-5400-FAFC-CAE63C74D116}"/>
          </ac:spMkLst>
        </pc:spChg>
        <pc:spChg chg="mod ord">
          <ac:chgData name="Douglas Daniel Reinoso Peña" userId="60d62e81-f7d7-4b4c-92cc-63fb6a945bb4" providerId="ADAL" clId="{B815062A-1CE0-47B2-B6FA-D2837D2FEAA4}" dt="2024-11-20T14:20:42.051" v="6828" actId="1076"/>
          <ac:spMkLst>
            <pc:docMk/>
            <pc:sldMk cId="3186150750" sldId="2147476759"/>
            <ac:spMk id="22" creationId="{0C8E02A0-105D-0E65-7229-A7EA631906CC}"/>
          </ac:spMkLst>
        </pc:spChg>
        <pc:spChg chg="add del mod ord">
          <ac:chgData name="Douglas Daniel Reinoso Peña" userId="60d62e81-f7d7-4b4c-92cc-63fb6a945bb4" providerId="ADAL" clId="{B815062A-1CE0-47B2-B6FA-D2837D2FEAA4}" dt="2024-11-19T20:19:42.458" v="5856" actId="478"/>
          <ac:spMkLst>
            <pc:docMk/>
            <pc:sldMk cId="3186150750" sldId="2147476759"/>
            <ac:spMk id="25" creationId="{0D06EF6B-72C8-E060-CD3F-26CC61A5C74C}"/>
          </ac:spMkLst>
        </pc:spChg>
        <pc:spChg chg="mod ord">
          <ac:chgData name="Douglas Daniel Reinoso Peña" userId="60d62e81-f7d7-4b4c-92cc-63fb6a945bb4" providerId="ADAL" clId="{B815062A-1CE0-47B2-B6FA-D2837D2FEAA4}" dt="2024-11-20T14:19:17.348" v="6808" actId="1036"/>
          <ac:spMkLst>
            <pc:docMk/>
            <pc:sldMk cId="3186150750" sldId="2147476759"/>
            <ac:spMk id="26" creationId="{9C884603-DDCB-A07A-03BB-B872928C3FAB}"/>
          </ac:spMkLst>
        </pc:spChg>
        <pc:spChg chg="add del mod modVis">
          <ac:chgData name="Douglas Daniel Reinoso Peña" userId="60d62e81-f7d7-4b4c-92cc-63fb6a945bb4" providerId="ADAL" clId="{B815062A-1CE0-47B2-B6FA-D2837D2FEAA4}" dt="2024-11-19T20:06:05.007" v="5322"/>
          <ac:spMkLst>
            <pc:docMk/>
            <pc:sldMk cId="3186150750" sldId="2147476759"/>
            <ac:spMk id="30" creationId="{008D9130-0116-6B19-E7BF-796487577C18}"/>
          </ac:spMkLst>
        </pc:spChg>
        <pc:spChg chg="add mod ord">
          <ac:chgData name="Douglas Daniel Reinoso Peña" userId="60d62e81-f7d7-4b4c-92cc-63fb6a945bb4" providerId="ADAL" clId="{B815062A-1CE0-47B2-B6FA-D2837D2FEAA4}" dt="2024-11-20T14:46:10.733" v="7060" actId="1035"/>
          <ac:spMkLst>
            <pc:docMk/>
            <pc:sldMk cId="3186150750" sldId="2147476759"/>
            <ac:spMk id="35" creationId="{97CB4F85-CBD1-BBA8-C545-0ACA45DB156D}"/>
          </ac:spMkLst>
        </pc:spChg>
        <pc:spChg chg="add mod ord">
          <ac:chgData name="Douglas Daniel Reinoso Peña" userId="60d62e81-f7d7-4b4c-92cc-63fb6a945bb4" providerId="ADAL" clId="{B815062A-1CE0-47B2-B6FA-D2837D2FEAA4}" dt="2024-11-20T14:46:10.733" v="7060" actId="1035"/>
          <ac:spMkLst>
            <pc:docMk/>
            <pc:sldMk cId="3186150750" sldId="2147476759"/>
            <ac:spMk id="36" creationId="{879894EF-584C-F3FB-2FB0-96CD11C63841}"/>
          </ac:spMkLst>
        </pc:spChg>
        <pc:spChg chg="mod ord">
          <ac:chgData name="Douglas Daniel Reinoso Peña" userId="60d62e81-f7d7-4b4c-92cc-63fb6a945bb4" providerId="ADAL" clId="{B815062A-1CE0-47B2-B6FA-D2837D2FEAA4}" dt="2024-11-19T20:27:30.958" v="6189" actId="1038"/>
          <ac:spMkLst>
            <pc:docMk/>
            <pc:sldMk cId="3186150750" sldId="2147476759"/>
            <ac:spMk id="39" creationId="{E7398E19-E2AA-0419-1FA3-15CA278BB806}"/>
          </ac:spMkLst>
        </pc:spChg>
        <pc:spChg chg="mod ord">
          <ac:chgData name="Douglas Daniel Reinoso Peña" userId="60d62e81-f7d7-4b4c-92cc-63fb6a945bb4" providerId="ADAL" clId="{B815062A-1CE0-47B2-B6FA-D2837D2FEAA4}" dt="2024-11-19T20:25:42.358" v="6071"/>
          <ac:spMkLst>
            <pc:docMk/>
            <pc:sldMk cId="3186150750" sldId="2147476759"/>
            <ac:spMk id="40" creationId="{461ECDC6-878D-F73B-70EA-E6318C134CAA}"/>
          </ac:spMkLst>
        </pc:spChg>
        <pc:spChg chg="mod ord">
          <ac:chgData name="Douglas Daniel Reinoso Peña" userId="60d62e81-f7d7-4b4c-92cc-63fb6a945bb4" providerId="ADAL" clId="{B815062A-1CE0-47B2-B6FA-D2837D2FEAA4}" dt="2024-11-19T20:25:42.358" v="6073"/>
          <ac:spMkLst>
            <pc:docMk/>
            <pc:sldMk cId="3186150750" sldId="2147476759"/>
            <ac:spMk id="41" creationId="{CB56EF82-25F2-C15C-7114-545CF272DABD}"/>
          </ac:spMkLst>
        </pc:spChg>
        <pc:spChg chg="mod ord">
          <ac:chgData name="Douglas Daniel Reinoso Peña" userId="60d62e81-f7d7-4b4c-92cc-63fb6a945bb4" providerId="ADAL" clId="{B815062A-1CE0-47B2-B6FA-D2837D2FEAA4}" dt="2024-11-19T20:25:42.359" v="6075"/>
          <ac:spMkLst>
            <pc:docMk/>
            <pc:sldMk cId="3186150750" sldId="2147476759"/>
            <ac:spMk id="43" creationId="{F56F88D2-40E0-EBE5-4B6B-FF932D607A54}"/>
          </ac:spMkLst>
        </pc:spChg>
        <pc:spChg chg="mod ord">
          <ac:chgData name="Douglas Daniel Reinoso Peña" userId="60d62e81-f7d7-4b4c-92cc-63fb6a945bb4" providerId="ADAL" clId="{B815062A-1CE0-47B2-B6FA-D2837D2FEAA4}" dt="2024-11-19T20:25:42.359" v="6077"/>
          <ac:spMkLst>
            <pc:docMk/>
            <pc:sldMk cId="3186150750" sldId="2147476759"/>
            <ac:spMk id="44" creationId="{8288C64D-E776-20DA-DF46-251366ACBDE2}"/>
          </ac:spMkLst>
        </pc:spChg>
        <pc:spChg chg="mod">
          <ac:chgData name="Douglas Daniel Reinoso Peña" userId="60d62e81-f7d7-4b4c-92cc-63fb6a945bb4" providerId="ADAL" clId="{B815062A-1CE0-47B2-B6FA-D2837D2FEAA4}" dt="2024-11-20T14:45:39.325" v="7012"/>
          <ac:spMkLst>
            <pc:docMk/>
            <pc:sldMk cId="3186150750" sldId="2147476759"/>
            <ac:spMk id="45" creationId="{F4E0C477-A671-35B8-2B0F-EEA7834C1961}"/>
          </ac:spMkLst>
        </pc:spChg>
        <pc:spChg chg="mod">
          <ac:chgData name="Douglas Daniel Reinoso Peña" userId="60d62e81-f7d7-4b4c-92cc-63fb6a945bb4" providerId="ADAL" clId="{B815062A-1CE0-47B2-B6FA-D2837D2FEAA4}" dt="2024-11-20T14:45:39.325" v="7012"/>
          <ac:spMkLst>
            <pc:docMk/>
            <pc:sldMk cId="3186150750" sldId="2147476759"/>
            <ac:spMk id="47" creationId="{0ABDBCA0-8BBB-EA9B-3F05-0D80AF1EF149}"/>
          </ac:spMkLst>
        </pc:spChg>
        <pc:spChg chg="mod">
          <ac:chgData name="Douglas Daniel Reinoso Peña" userId="60d62e81-f7d7-4b4c-92cc-63fb6a945bb4" providerId="ADAL" clId="{B815062A-1CE0-47B2-B6FA-D2837D2FEAA4}" dt="2024-11-20T14:47:41.945" v="7134" actId="20577"/>
          <ac:spMkLst>
            <pc:docMk/>
            <pc:sldMk cId="3186150750" sldId="2147476759"/>
            <ac:spMk id="48" creationId="{B033F375-9E9F-EC93-D6C2-CC19C5FCAA51}"/>
          </ac:spMkLst>
        </pc:spChg>
        <pc:spChg chg="del">
          <ac:chgData name="Douglas Daniel Reinoso Peña" userId="60d62e81-f7d7-4b4c-92cc-63fb6a945bb4" providerId="ADAL" clId="{B815062A-1CE0-47B2-B6FA-D2837D2FEAA4}" dt="2024-11-19T19:49:51.118" v="4977" actId="478"/>
          <ac:spMkLst>
            <pc:docMk/>
            <pc:sldMk cId="3186150750" sldId="2147476759"/>
            <ac:spMk id="57" creationId="{CEBE8F03-B3DF-3573-C93C-454231BDE037}"/>
          </ac:spMkLst>
        </pc:spChg>
        <pc:spChg chg="del">
          <ac:chgData name="Douglas Daniel Reinoso Peña" userId="60d62e81-f7d7-4b4c-92cc-63fb6a945bb4" providerId="ADAL" clId="{B815062A-1CE0-47B2-B6FA-D2837D2FEAA4}" dt="2024-11-19T19:49:48.802" v="4976" actId="478"/>
          <ac:spMkLst>
            <pc:docMk/>
            <pc:sldMk cId="3186150750" sldId="2147476759"/>
            <ac:spMk id="58" creationId="{7AA1642D-05FB-1CBD-FE2B-206DFED61B23}"/>
          </ac:spMkLst>
        </pc:spChg>
        <pc:spChg chg="del">
          <ac:chgData name="Douglas Daniel Reinoso Peña" userId="60d62e81-f7d7-4b4c-92cc-63fb6a945bb4" providerId="ADAL" clId="{B815062A-1CE0-47B2-B6FA-D2837D2FEAA4}" dt="2024-11-19T19:49:47.266" v="4975" actId="478"/>
          <ac:spMkLst>
            <pc:docMk/>
            <pc:sldMk cId="3186150750" sldId="2147476759"/>
            <ac:spMk id="59" creationId="{298AA463-BA5A-402C-1FAC-A62379394184}"/>
          </ac:spMkLst>
        </pc:spChg>
        <pc:spChg chg="del mod">
          <ac:chgData name="Douglas Daniel Reinoso Peña" userId="60d62e81-f7d7-4b4c-92cc-63fb6a945bb4" providerId="ADAL" clId="{B815062A-1CE0-47B2-B6FA-D2837D2FEAA4}" dt="2024-11-19T19:49:45.259" v="4974" actId="478"/>
          <ac:spMkLst>
            <pc:docMk/>
            <pc:sldMk cId="3186150750" sldId="2147476759"/>
            <ac:spMk id="60" creationId="{45528CF6-320D-24EB-848A-7C7E39676C8A}"/>
          </ac:spMkLst>
        </pc:spChg>
        <pc:spChg chg="del">
          <ac:chgData name="Douglas Daniel Reinoso Peña" userId="60d62e81-f7d7-4b4c-92cc-63fb6a945bb4" providerId="ADAL" clId="{B815062A-1CE0-47B2-B6FA-D2837D2FEAA4}" dt="2024-11-19T19:49:55.835" v="4979" actId="478"/>
          <ac:spMkLst>
            <pc:docMk/>
            <pc:sldMk cId="3186150750" sldId="2147476759"/>
            <ac:spMk id="61" creationId="{661EDFA2-77EA-1D5F-CA99-B7B9BCC26551}"/>
          </ac:spMkLst>
        </pc:spChg>
        <pc:spChg chg="mod ord">
          <ac:chgData name="Douglas Daniel Reinoso Peña" userId="60d62e81-f7d7-4b4c-92cc-63fb6a945bb4" providerId="ADAL" clId="{B815062A-1CE0-47B2-B6FA-D2837D2FEAA4}" dt="2024-11-20T13:21:58.524" v="6727" actId="1036"/>
          <ac:spMkLst>
            <pc:docMk/>
            <pc:sldMk cId="3186150750" sldId="2147476759"/>
            <ac:spMk id="62" creationId="{DAB8CF60-F08F-E329-1303-58F487728967}"/>
          </ac:spMkLst>
        </pc:spChg>
        <pc:spChg chg="mod ord">
          <ac:chgData name="Douglas Daniel Reinoso Peña" userId="60d62e81-f7d7-4b4c-92cc-63fb6a945bb4" providerId="ADAL" clId="{B815062A-1CE0-47B2-B6FA-D2837D2FEAA4}" dt="2024-11-20T14:22:30.772" v="6878" actId="20577"/>
          <ac:spMkLst>
            <pc:docMk/>
            <pc:sldMk cId="3186150750" sldId="2147476759"/>
            <ac:spMk id="63" creationId="{6CDFA4B6-CF06-6242-C78F-E3D90699CDE3}"/>
          </ac:spMkLst>
        </pc:spChg>
        <pc:spChg chg="mod ord">
          <ac:chgData name="Douglas Daniel Reinoso Peña" userId="60d62e81-f7d7-4b4c-92cc-63fb6a945bb4" providerId="ADAL" clId="{B815062A-1CE0-47B2-B6FA-D2837D2FEAA4}" dt="2024-11-20T14:20:42.051" v="6828" actId="1076"/>
          <ac:spMkLst>
            <pc:docMk/>
            <pc:sldMk cId="3186150750" sldId="2147476759"/>
            <ac:spMk id="64" creationId="{8483C65B-4CAC-FBEA-1BE2-464440858D8E}"/>
          </ac:spMkLst>
        </pc:spChg>
        <pc:spChg chg="mod ord">
          <ac:chgData name="Douglas Daniel Reinoso Peña" userId="60d62e81-f7d7-4b4c-92cc-63fb6a945bb4" providerId="ADAL" clId="{B815062A-1CE0-47B2-B6FA-D2837D2FEAA4}" dt="2024-11-20T14:20:55.998" v="6848" actId="20577"/>
          <ac:spMkLst>
            <pc:docMk/>
            <pc:sldMk cId="3186150750" sldId="2147476759"/>
            <ac:spMk id="65" creationId="{F2DFA0B1-F7C4-1F00-B169-ED2FE6D65CC5}"/>
          </ac:spMkLst>
        </pc:spChg>
        <pc:spChg chg="mod ord">
          <ac:chgData name="Douglas Daniel Reinoso Peña" userId="60d62e81-f7d7-4b4c-92cc-63fb6a945bb4" providerId="ADAL" clId="{B815062A-1CE0-47B2-B6FA-D2837D2FEAA4}" dt="2024-11-19T20:28:13.068" v="6258" actId="1036"/>
          <ac:spMkLst>
            <pc:docMk/>
            <pc:sldMk cId="3186150750" sldId="2147476759"/>
            <ac:spMk id="66" creationId="{565BC0B6-EB48-C64D-685F-FD9D077E8855}"/>
          </ac:spMkLst>
        </pc:spChg>
        <pc:grpChg chg="del">
          <ac:chgData name="Douglas Daniel Reinoso Peña" userId="60d62e81-f7d7-4b4c-92cc-63fb6a945bb4" providerId="ADAL" clId="{B815062A-1CE0-47B2-B6FA-D2837D2FEAA4}" dt="2024-11-19T19:48:56.648" v="4923" actId="478"/>
          <ac:grpSpMkLst>
            <pc:docMk/>
            <pc:sldMk cId="3186150750" sldId="2147476759"/>
            <ac:grpSpMk id="32" creationId="{65B026F7-2AD9-8887-A3C7-7CF40E1BAB3D}"/>
          </ac:grpSpMkLst>
        </pc:grpChg>
        <pc:grpChg chg="add mod">
          <ac:chgData name="Douglas Daniel Reinoso Peña" userId="60d62e81-f7d7-4b4c-92cc-63fb6a945bb4" providerId="ADAL" clId="{B815062A-1CE0-47B2-B6FA-D2837D2FEAA4}" dt="2024-11-20T14:45:39.325" v="7012"/>
          <ac:grpSpMkLst>
            <pc:docMk/>
            <pc:sldMk cId="3186150750" sldId="2147476759"/>
            <ac:grpSpMk id="37" creationId="{2317C844-265E-DB80-E738-EF3383BC750F}"/>
          </ac:grpSpMkLst>
        </pc:grpChg>
        <pc:graphicFrameChg chg="mod">
          <ac:chgData name="Douglas Daniel Reinoso Peña" userId="60d62e81-f7d7-4b4c-92cc-63fb6a945bb4" providerId="ADAL" clId="{B815062A-1CE0-47B2-B6FA-D2837D2FEAA4}" dt="2024-11-19T20:26:27.695" v="6116"/>
          <ac:graphicFrameMkLst>
            <pc:docMk/>
            <pc:sldMk cId="3186150750" sldId="2147476759"/>
            <ac:graphicFrameMk id="5" creationId="{1E829239-41F7-42B3-1CE1-65D324871083}"/>
          </ac:graphicFrameMkLst>
        </pc:graphicFrameChg>
        <pc:graphicFrameChg chg="add mod">
          <ac:chgData name="Douglas Daniel Reinoso Peña" userId="60d62e81-f7d7-4b4c-92cc-63fb6a945bb4" providerId="ADAL" clId="{B815062A-1CE0-47B2-B6FA-D2837D2FEAA4}" dt="2024-11-19T20:17:59.680" v="5794"/>
          <ac:graphicFrameMkLst>
            <pc:docMk/>
            <pc:sldMk cId="3186150750" sldId="2147476759"/>
            <ac:graphicFrameMk id="31" creationId="{A667B677-2B93-300E-52B3-D6A03CB5B773}"/>
          </ac:graphicFrameMkLst>
        </pc:graphicFrameChg>
        <pc:picChg chg="add del mod">
          <ac:chgData name="Douglas Daniel Reinoso Peña" userId="60d62e81-f7d7-4b4c-92cc-63fb6a945bb4" providerId="ADAL" clId="{B815062A-1CE0-47B2-B6FA-D2837D2FEAA4}" dt="2024-11-19T19:54:23.977" v="5206" actId="478"/>
          <ac:picMkLst>
            <pc:docMk/>
            <pc:sldMk cId="3186150750" sldId="2147476759"/>
            <ac:picMk id="9" creationId="{5D3D09A8-DAA7-4004-8A3B-0E3959F76465}"/>
          </ac:picMkLst>
        </pc:picChg>
        <pc:picChg chg="add mod">
          <ac:chgData name="Douglas Daniel Reinoso Peña" userId="60d62e81-f7d7-4b4c-92cc-63fb6a945bb4" providerId="ADAL" clId="{B815062A-1CE0-47B2-B6FA-D2837D2FEAA4}" dt="2024-11-19T19:51:19.708" v="5191"/>
          <ac:picMkLst>
            <pc:docMk/>
            <pc:sldMk cId="3186150750" sldId="2147476759"/>
            <ac:picMk id="13" creationId="{342CA678-3096-0D70-30C4-155CD9D83217}"/>
          </ac:picMkLst>
        </pc:picChg>
        <pc:picChg chg="mod ord">
          <ac:chgData name="Douglas Daniel Reinoso Peña" userId="60d62e81-f7d7-4b4c-92cc-63fb6a945bb4" providerId="ADAL" clId="{B815062A-1CE0-47B2-B6FA-D2837D2FEAA4}" dt="2024-11-19T20:25:42.364" v="6095"/>
          <ac:picMkLst>
            <pc:docMk/>
            <pc:sldMk cId="3186150750" sldId="2147476759"/>
            <ac:picMk id="15" creationId="{C4862D77-7101-116B-D55F-5B8EF5163D89}"/>
          </ac:picMkLst>
        </pc:picChg>
        <pc:picChg chg="mod ord">
          <ac:chgData name="Douglas Daniel Reinoso Peña" userId="60d62e81-f7d7-4b4c-92cc-63fb6a945bb4" providerId="ADAL" clId="{B815062A-1CE0-47B2-B6FA-D2837D2FEAA4}" dt="2024-11-19T20:25:42.364" v="6097"/>
          <ac:picMkLst>
            <pc:docMk/>
            <pc:sldMk cId="3186150750" sldId="2147476759"/>
            <ac:picMk id="23" creationId="{87CB60E9-A48D-8AFC-F94E-97F44DB4F979}"/>
          </ac:picMkLst>
        </pc:picChg>
        <pc:picChg chg="del mod ord">
          <ac:chgData name="Douglas Daniel Reinoso Peña" userId="60d62e81-f7d7-4b4c-92cc-63fb6a945bb4" providerId="ADAL" clId="{B815062A-1CE0-47B2-B6FA-D2837D2FEAA4}" dt="2024-11-19T20:19:17.217" v="5850" actId="478"/>
          <ac:picMkLst>
            <pc:docMk/>
            <pc:sldMk cId="3186150750" sldId="2147476759"/>
            <ac:picMk id="24" creationId="{18CB1F1A-37DC-8B29-2F29-8DC388E28751}"/>
          </ac:picMkLst>
        </pc:picChg>
        <pc:picChg chg="add del mod">
          <ac:chgData name="Douglas Daniel Reinoso Peña" userId="60d62e81-f7d7-4b4c-92cc-63fb6a945bb4" providerId="ADAL" clId="{B815062A-1CE0-47B2-B6FA-D2837D2FEAA4}" dt="2024-11-19T20:03:08.447" v="5211" actId="478"/>
          <ac:picMkLst>
            <pc:docMk/>
            <pc:sldMk cId="3186150750" sldId="2147476759"/>
            <ac:picMk id="27" creationId="{1B11C86A-EC4E-773C-C0C4-80DFE351864D}"/>
          </ac:picMkLst>
        </pc:picChg>
        <pc:picChg chg="add mod ord">
          <ac:chgData name="Douglas Daniel Reinoso Peña" userId="60d62e81-f7d7-4b4c-92cc-63fb6a945bb4" providerId="ADAL" clId="{B815062A-1CE0-47B2-B6FA-D2837D2FEAA4}" dt="2024-11-20T14:46:01.849" v="7038" actId="1036"/>
          <ac:picMkLst>
            <pc:docMk/>
            <pc:sldMk cId="3186150750" sldId="2147476759"/>
            <ac:picMk id="28" creationId="{A02E8EC1-E4B1-648A-DA3D-252921B65DBF}"/>
          </ac:picMkLst>
        </pc:picChg>
        <pc:picChg chg="add mod ord">
          <ac:chgData name="Douglas Daniel Reinoso Peña" userId="60d62e81-f7d7-4b4c-92cc-63fb6a945bb4" providerId="ADAL" clId="{B815062A-1CE0-47B2-B6FA-D2837D2FEAA4}" dt="2024-11-20T14:46:10.733" v="7060" actId="1035"/>
          <ac:picMkLst>
            <pc:docMk/>
            <pc:sldMk cId="3186150750" sldId="2147476759"/>
            <ac:picMk id="29" creationId="{24E96C48-CBD7-27BF-003F-3D2C11543393}"/>
          </ac:picMkLst>
        </pc:picChg>
        <pc:picChg chg="mod ord">
          <ac:chgData name="Douglas Daniel Reinoso Peña" userId="60d62e81-f7d7-4b4c-92cc-63fb6a945bb4" providerId="ADAL" clId="{B815062A-1CE0-47B2-B6FA-D2837D2FEAA4}" dt="2024-11-19T20:25:42.361" v="6085"/>
          <ac:picMkLst>
            <pc:docMk/>
            <pc:sldMk cId="3186150750" sldId="2147476759"/>
            <ac:picMk id="42" creationId="{668475F6-A245-9EA5-DDAD-82710D0A9A73}"/>
          </ac:picMkLst>
        </pc:picChg>
        <pc:picChg chg="mod ord">
          <ac:chgData name="Douglas Daniel Reinoso Peña" userId="60d62e81-f7d7-4b4c-92cc-63fb6a945bb4" providerId="ADAL" clId="{B815062A-1CE0-47B2-B6FA-D2837D2FEAA4}" dt="2024-11-19T20:27:30.958" v="6189" actId="1038"/>
          <ac:picMkLst>
            <pc:docMk/>
            <pc:sldMk cId="3186150750" sldId="2147476759"/>
            <ac:picMk id="46" creationId="{84392B3B-BE32-96EE-F246-5777AFF98037}"/>
          </ac:picMkLst>
        </pc:picChg>
        <pc:picChg chg="mod ord">
          <ac:chgData name="Douglas Daniel Reinoso Peña" userId="60d62e81-f7d7-4b4c-92cc-63fb6a945bb4" providerId="ADAL" clId="{B815062A-1CE0-47B2-B6FA-D2837D2FEAA4}" dt="2024-11-19T20:25:42.362" v="6089"/>
          <ac:picMkLst>
            <pc:docMk/>
            <pc:sldMk cId="3186150750" sldId="2147476759"/>
            <ac:picMk id="49" creationId="{A593F478-5821-65E5-D9B2-A293E8D899DC}"/>
          </ac:picMkLst>
        </pc:picChg>
        <pc:picChg chg="mod ord">
          <ac:chgData name="Douglas Daniel Reinoso Peña" userId="60d62e81-f7d7-4b4c-92cc-63fb6a945bb4" providerId="ADAL" clId="{B815062A-1CE0-47B2-B6FA-D2837D2FEAA4}" dt="2024-11-19T20:25:42.363" v="6091"/>
          <ac:picMkLst>
            <pc:docMk/>
            <pc:sldMk cId="3186150750" sldId="2147476759"/>
            <ac:picMk id="68" creationId="{4B1B43D2-FBD0-B751-D3C7-540D8E55FC53}"/>
          </ac:picMkLst>
        </pc:picChg>
      </pc:sldChg>
      <pc:sldChg chg="addSp delSp modSp add mod">
        <pc:chgData name="Douglas Daniel Reinoso Peña" userId="60d62e81-f7d7-4b4c-92cc-63fb6a945bb4" providerId="ADAL" clId="{B815062A-1CE0-47B2-B6FA-D2837D2FEAA4}" dt="2024-11-20T14:42:46.412" v="6982"/>
        <pc:sldMkLst>
          <pc:docMk/>
          <pc:sldMk cId="1253696557" sldId="2147476760"/>
        </pc:sldMkLst>
        <pc:spChg chg="mod">
          <ac:chgData name="Douglas Daniel Reinoso Peña" userId="60d62e81-f7d7-4b4c-92cc-63fb6a945bb4" providerId="ADAL" clId="{B815062A-1CE0-47B2-B6FA-D2837D2FEAA4}" dt="2024-11-20T14:42:46.367" v="6959" actId="948"/>
          <ac:spMkLst>
            <pc:docMk/>
            <pc:sldMk cId="1253696557" sldId="2147476760"/>
            <ac:spMk id="2" creationId="{88D6C8A6-D079-AE1A-C164-BDBD18C5F3F6}"/>
          </ac:spMkLst>
        </pc:spChg>
        <pc:spChg chg="add del mod modVis">
          <ac:chgData name="Douglas Daniel Reinoso Peña" userId="60d62e81-f7d7-4b4c-92cc-63fb6a945bb4" providerId="ADAL" clId="{B815062A-1CE0-47B2-B6FA-D2837D2FEAA4}" dt="2024-11-20T14:41:48.340" v="6926"/>
          <ac:spMkLst>
            <pc:docMk/>
            <pc:sldMk cId="1253696557" sldId="2147476760"/>
            <ac:spMk id="3" creationId="{E6A2A0BE-E30E-70FD-BF33-38A3A4693F51}"/>
          </ac:spMkLst>
        </pc:spChg>
        <pc:spChg chg="del">
          <ac:chgData name="Douglas Daniel Reinoso Peña" userId="60d62e81-f7d7-4b4c-92cc-63fb6a945bb4" providerId="ADAL" clId="{B815062A-1CE0-47B2-B6FA-D2837D2FEAA4}" dt="2024-11-20T14:41:37.693" v="6903" actId="478"/>
          <ac:spMkLst>
            <pc:docMk/>
            <pc:sldMk cId="1253696557" sldId="2147476760"/>
            <ac:spMk id="5" creationId="{8AA1133F-8810-0381-B986-949373681FA8}"/>
          </ac:spMkLst>
        </pc:spChg>
        <pc:spChg chg="del">
          <ac:chgData name="Douglas Daniel Reinoso Peña" userId="60d62e81-f7d7-4b4c-92cc-63fb6a945bb4" providerId="ADAL" clId="{B815062A-1CE0-47B2-B6FA-D2837D2FEAA4}" dt="2024-11-20T14:41:37.693" v="6903" actId="478"/>
          <ac:spMkLst>
            <pc:docMk/>
            <pc:sldMk cId="1253696557" sldId="2147476760"/>
            <ac:spMk id="6" creationId="{7E7318F0-83DC-F6F0-0753-EBFD5D420AEA}"/>
          </ac:spMkLst>
        </pc:spChg>
        <pc:spChg chg="del">
          <ac:chgData name="Douglas Daniel Reinoso Peña" userId="60d62e81-f7d7-4b4c-92cc-63fb6a945bb4" providerId="ADAL" clId="{B815062A-1CE0-47B2-B6FA-D2837D2FEAA4}" dt="2024-11-20T14:41:37.693" v="6903" actId="478"/>
          <ac:spMkLst>
            <pc:docMk/>
            <pc:sldMk cId="1253696557" sldId="2147476760"/>
            <ac:spMk id="7" creationId="{DE3170E5-2772-44FD-1A34-5B9457E7BAD3}"/>
          </ac:spMkLst>
        </pc:spChg>
        <pc:spChg chg="del">
          <ac:chgData name="Douglas Daniel Reinoso Peña" userId="60d62e81-f7d7-4b4c-92cc-63fb6a945bb4" providerId="ADAL" clId="{B815062A-1CE0-47B2-B6FA-D2837D2FEAA4}" dt="2024-11-20T14:41:37.693" v="6903" actId="478"/>
          <ac:spMkLst>
            <pc:docMk/>
            <pc:sldMk cId="1253696557" sldId="2147476760"/>
            <ac:spMk id="9" creationId="{E6301E8F-73BB-C134-87BB-A0A6966B9D7E}"/>
          </ac:spMkLst>
        </pc:spChg>
        <pc:spChg chg="add del mod modVis">
          <ac:chgData name="Douglas Daniel Reinoso Peña" userId="60d62e81-f7d7-4b4c-92cc-63fb6a945bb4" providerId="ADAL" clId="{B815062A-1CE0-47B2-B6FA-D2837D2FEAA4}" dt="2024-11-20T14:41:52.308" v="6951"/>
          <ac:spMkLst>
            <pc:docMk/>
            <pc:sldMk cId="1253696557" sldId="2147476760"/>
            <ac:spMk id="10" creationId="{14C41B43-3F68-EBDB-4518-91B1A834DA2B}"/>
          </ac:spMkLst>
        </pc:spChg>
        <pc:spChg chg="add mod">
          <ac:chgData name="Douglas Daniel Reinoso Peña" userId="60d62e81-f7d7-4b4c-92cc-63fb6a945bb4" providerId="ADAL" clId="{B815062A-1CE0-47B2-B6FA-D2837D2FEAA4}" dt="2024-11-20T14:42:17.435" v="6955"/>
          <ac:spMkLst>
            <pc:docMk/>
            <pc:sldMk cId="1253696557" sldId="2147476760"/>
            <ac:spMk id="12" creationId="{4E32EB47-A2C7-0951-91F1-DE00BEBBDB4E}"/>
          </ac:spMkLst>
        </pc:spChg>
        <pc:spChg chg="add mod">
          <ac:chgData name="Douglas Daniel Reinoso Peña" userId="60d62e81-f7d7-4b4c-92cc-63fb6a945bb4" providerId="ADAL" clId="{B815062A-1CE0-47B2-B6FA-D2837D2FEAA4}" dt="2024-11-20T14:42:25.271" v="6956"/>
          <ac:spMkLst>
            <pc:docMk/>
            <pc:sldMk cId="1253696557" sldId="2147476760"/>
            <ac:spMk id="20" creationId="{5A51D102-CBFF-3489-C123-3C946397EFF4}"/>
          </ac:spMkLst>
        </pc:spChg>
        <pc:spChg chg="add del mod modVis">
          <ac:chgData name="Douglas Daniel Reinoso Peña" userId="60d62e81-f7d7-4b4c-92cc-63fb6a945bb4" providerId="ADAL" clId="{B815062A-1CE0-47B2-B6FA-D2837D2FEAA4}" dt="2024-11-20T14:42:46.411" v="6980"/>
          <ac:spMkLst>
            <pc:docMk/>
            <pc:sldMk cId="1253696557" sldId="2147476760"/>
            <ac:spMk id="24" creationId="{416BA803-B344-AC2A-EB7D-50AC9F77EE45}"/>
          </ac:spMkLst>
        </pc:spChg>
        <pc:spChg chg="del">
          <ac:chgData name="Douglas Daniel Reinoso Peña" userId="60d62e81-f7d7-4b4c-92cc-63fb6a945bb4" providerId="ADAL" clId="{B815062A-1CE0-47B2-B6FA-D2837D2FEAA4}" dt="2024-11-20T14:41:37.693" v="6903" actId="478"/>
          <ac:spMkLst>
            <pc:docMk/>
            <pc:sldMk cId="1253696557" sldId="2147476760"/>
            <ac:spMk id="29" creationId="{4610511A-89B7-2F4F-7D8E-D5F5E473E3D4}"/>
          </ac:spMkLst>
        </pc:spChg>
        <pc:graphicFrameChg chg="mod">
          <ac:chgData name="Douglas Daniel Reinoso Peña" userId="60d62e81-f7d7-4b4c-92cc-63fb6a945bb4" providerId="ADAL" clId="{B815062A-1CE0-47B2-B6FA-D2837D2FEAA4}" dt="2024-11-20T14:42:46.412" v="6982"/>
          <ac:graphicFrameMkLst>
            <pc:docMk/>
            <pc:sldMk cId="1253696557" sldId="2147476760"/>
            <ac:graphicFrameMk id="8" creationId="{54514F55-E71D-86CB-40A3-8138475C8423}"/>
          </ac:graphicFrameMkLst>
        </pc:graphicFrameChg>
        <pc:picChg chg="del">
          <ac:chgData name="Douglas Daniel Reinoso Peña" userId="60d62e81-f7d7-4b4c-92cc-63fb6a945bb4" providerId="ADAL" clId="{B815062A-1CE0-47B2-B6FA-D2837D2FEAA4}" dt="2024-11-20T14:41:37.693" v="6903" actId="478"/>
          <ac:picMkLst>
            <pc:docMk/>
            <pc:sldMk cId="1253696557" sldId="2147476760"/>
            <ac:picMk id="4" creationId="{63C053C6-3E8C-F383-FAD0-4767135FC786}"/>
          </ac:picMkLst>
        </pc:picChg>
        <pc:picChg chg="add mod">
          <ac:chgData name="Douglas Daniel Reinoso Peña" userId="60d62e81-f7d7-4b4c-92cc-63fb6a945bb4" providerId="ADAL" clId="{B815062A-1CE0-47B2-B6FA-D2837D2FEAA4}" dt="2024-11-20T14:42:06.951" v="6954"/>
          <ac:picMkLst>
            <pc:docMk/>
            <pc:sldMk cId="1253696557" sldId="2147476760"/>
            <ac:picMk id="11" creationId="{C96B7EF9-5CE4-E69A-972A-598ACCBCDD87}"/>
          </ac:picMkLst>
        </pc:picChg>
        <pc:picChg chg="add mod">
          <ac:chgData name="Douglas Daniel Reinoso Peña" userId="60d62e81-f7d7-4b4c-92cc-63fb6a945bb4" providerId="ADAL" clId="{B815062A-1CE0-47B2-B6FA-D2837D2FEAA4}" dt="2024-11-20T14:42:17.435" v="6955"/>
          <ac:picMkLst>
            <pc:docMk/>
            <pc:sldMk cId="1253696557" sldId="2147476760"/>
            <ac:picMk id="13" creationId="{46E9A624-CB3E-320C-F833-8606D866AF20}"/>
          </ac:picMkLst>
        </pc:picChg>
        <pc:picChg chg="add mod">
          <ac:chgData name="Douglas Daniel Reinoso Peña" userId="60d62e81-f7d7-4b4c-92cc-63fb6a945bb4" providerId="ADAL" clId="{B815062A-1CE0-47B2-B6FA-D2837D2FEAA4}" dt="2024-11-20T14:42:17.435" v="6955"/>
          <ac:picMkLst>
            <pc:docMk/>
            <pc:sldMk cId="1253696557" sldId="2147476760"/>
            <ac:picMk id="14" creationId="{864F6F5E-D9A7-5D0C-7164-3336B79FBB8A}"/>
          </ac:picMkLst>
        </pc:picChg>
        <pc:picChg chg="add mod">
          <ac:chgData name="Douglas Daniel Reinoso Peña" userId="60d62e81-f7d7-4b4c-92cc-63fb6a945bb4" providerId="ADAL" clId="{B815062A-1CE0-47B2-B6FA-D2837D2FEAA4}" dt="2024-11-20T14:42:17.435" v="6955"/>
          <ac:picMkLst>
            <pc:docMk/>
            <pc:sldMk cId="1253696557" sldId="2147476760"/>
            <ac:picMk id="15" creationId="{26FB15BE-1A8C-3404-9EFA-2579E163F5CA}"/>
          </ac:picMkLst>
        </pc:picChg>
        <pc:picChg chg="add mod">
          <ac:chgData name="Douglas Daniel Reinoso Peña" userId="60d62e81-f7d7-4b4c-92cc-63fb6a945bb4" providerId="ADAL" clId="{B815062A-1CE0-47B2-B6FA-D2837D2FEAA4}" dt="2024-11-20T14:42:17.435" v="6955"/>
          <ac:picMkLst>
            <pc:docMk/>
            <pc:sldMk cId="1253696557" sldId="2147476760"/>
            <ac:picMk id="16" creationId="{3B877EFD-341A-3DCC-0D10-0000BEC96DBC}"/>
          </ac:picMkLst>
        </pc:picChg>
        <pc:picChg chg="add mod">
          <ac:chgData name="Douglas Daniel Reinoso Peña" userId="60d62e81-f7d7-4b4c-92cc-63fb6a945bb4" providerId="ADAL" clId="{B815062A-1CE0-47B2-B6FA-D2837D2FEAA4}" dt="2024-11-20T14:42:17.435" v="6955"/>
          <ac:picMkLst>
            <pc:docMk/>
            <pc:sldMk cId="1253696557" sldId="2147476760"/>
            <ac:picMk id="17" creationId="{02F8CC5B-C5FC-4AFA-BF2B-19F55C9F6179}"/>
          </ac:picMkLst>
        </pc:picChg>
        <pc:picChg chg="add mod">
          <ac:chgData name="Douglas Daniel Reinoso Peña" userId="60d62e81-f7d7-4b4c-92cc-63fb6a945bb4" providerId="ADAL" clId="{B815062A-1CE0-47B2-B6FA-D2837D2FEAA4}" dt="2024-11-20T14:42:25.271" v="6956"/>
          <ac:picMkLst>
            <pc:docMk/>
            <pc:sldMk cId="1253696557" sldId="2147476760"/>
            <ac:picMk id="18" creationId="{F16DC138-B9B0-57C0-C002-D2908FB46EA5}"/>
          </ac:picMkLst>
        </pc:picChg>
        <pc:picChg chg="add mod">
          <ac:chgData name="Douglas Daniel Reinoso Peña" userId="60d62e81-f7d7-4b4c-92cc-63fb6a945bb4" providerId="ADAL" clId="{B815062A-1CE0-47B2-B6FA-D2837D2FEAA4}" dt="2024-11-20T14:42:25.271" v="6956"/>
          <ac:picMkLst>
            <pc:docMk/>
            <pc:sldMk cId="1253696557" sldId="2147476760"/>
            <ac:picMk id="19" creationId="{CFD0352C-4211-0787-2C50-4104E40E5B09}"/>
          </ac:picMkLst>
        </pc:picChg>
        <pc:picChg chg="add mod">
          <ac:chgData name="Douglas Daniel Reinoso Peña" userId="60d62e81-f7d7-4b4c-92cc-63fb6a945bb4" providerId="ADAL" clId="{B815062A-1CE0-47B2-B6FA-D2837D2FEAA4}" dt="2024-11-20T14:42:25.271" v="6956"/>
          <ac:picMkLst>
            <pc:docMk/>
            <pc:sldMk cId="1253696557" sldId="2147476760"/>
            <ac:picMk id="21" creationId="{CE195EC6-E9CE-7F24-A821-62E88ACE018B}"/>
          </ac:picMkLst>
        </pc:picChg>
        <pc:picChg chg="add mod">
          <ac:chgData name="Douglas Daniel Reinoso Peña" userId="60d62e81-f7d7-4b4c-92cc-63fb6a945bb4" providerId="ADAL" clId="{B815062A-1CE0-47B2-B6FA-D2837D2FEAA4}" dt="2024-11-20T14:42:25.271" v="6956"/>
          <ac:picMkLst>
            <pc:docMk/>
            <pc:sldMk cId="1253696557" sldId="2147476760"/>
            <ac:picMk id="22" creationId="{B40CA4E9-DCCB-25FB-787A-28CABF5B23FA}"/>
          </ac:picMkLst>
        </pc:picChg>
        <pc:picChg chg="add mod">
          <ac:chgData name="Douglas Daniel Reinoso Peña" userId="60d62e81-f7d7-4b4c-92cc-63fb6a945bb4" providerId="ADAL" clId="{B815062A-1CE0-47B2-B6FA-D2837D2FEAA4}" dt="2024-11-20T14:42:25.271" v="6956"/>
          <ac:picMkLst>
            <pc:docMk/>
            <pc:sldMk cId="1253696557" sldId="2147476760"/>
            <ac:picMk id="23" creationId="{E370FF47-D31A-7EA5-920A-18F98BD2DA49}"/>
          </ac:picMkLst>
        </pc:picChg>
        <pc:picChg chg="del">
          <ac:chgData name="Douglas Daniel Reinoso Peña" userId="60d62e81-f7d7-4b4c-92cc-63fb6a945bb4" providerId="ADAL" clId="{B815062A-1CE0-47B2-B6FA-D2837D2FEAA4}" dt="2024-11-20T14:41:37.693" v="6903" actId="478"/>
          <ac:picMkLst>
            <pc:docMk/>
            <pc:sldMk cId="1253696557" sldId="2147476760"/>
            <ac:picMk id="1026" creationId="{9BE6C7A2-A337-122F-478E-ED05498E53A0}"/>
          </ac:picMkLst>
        </pc:picChg>
        <pc:picChg chg="del">
          <ac:chgData name="Douglas Daniel Reinoso Peña" userId="60d62e81-f7d7-4b4c-92cc-63fb6a945bb4" providerId="ADAL" clId="{B815062A-1CE0-47B2-B6FA-D2837D2FEAA4}" dt="2024-11-20T14:41:37.693" v="6903" actId="478"/>
          <ac:picMkLst>
            <pc:docMk/>
            <pc:sldMk cId="1253696557" sldId="2147476760"/>
            <ac:picMk id="1030" creationId="{DFAC2C62-4BBE-B2EF-1192-853DABC82497}"/>
          </ac:picMkLst>
        </pc:picChg>
        <pc:picChg chg="del">
          <ac:chgData name="Douglas Daniel Reinoso Peña" userId="60d62e81-f7d7-4b4c-92cc-63fb6a945bb4" providerId="ADAL" clId="{B815062A-1CE0-47B2-B6FA-D2837D2FEAA4}" dt="2024-11-20T14:41:37.693" v="6903" actId="478"/>
          <ac:picMkLst>
            <pc:docMk/>
            <pc:sldMk cId="1253696557" sldId="2147476760"/>
            <ac:picMk id="1032" creationId="{B28DE67A-D411-03C5-D915-1B00453E4474}"/>
          </ac:picMkLst>
        </pc:picChg>
      </pc:sldChg>
      <pc:sldMasterChg chg="addSp delSp modSp mod delSldLayout">
        <pc:chgData name="Douglas Daniel Reinoso Peña" userId="60d62e81-f7d7-4b4c-92cc-63fb6a945bb4" providerId="ADAL" clId="{B815062A-1CE0-47B2-B6FA-D2837D2FEAA4}" dt="2024-11-20T13:07:40.687" v="6715" actId="47"/>
        <pc:sldMasterMkLst>
          <pc:docMk/>
          <pc:sldMasterMk cId="149844272" sldId="2147483648"/>
        </pc:sldMasterMkLst>
        <pc:spChg chg="mod">
          <ac:chgData name="Douglas Daniel Reinoso Peña" userId="60d62e81-f7d7-4b4c-92cc-63fb6a945bb4" providerId="ADAL" clId="{B815062A-1CE0-47B2-B6FA-D2837D2FEAA4}" dt="2024-11-18T20:58:28.447" v="17" actId="948"/>
          <ac:spMkLst>
            <pc:docMk/>
            <pc:sldMasterMk cId="149844272" sldId="2147483648"/>
            <ac:spMk id="2" creationId="{4DBD9ED9-FD34-F48C-10EE-2C174DC287CF}"/>
          </ac:spMkLst>
        </pc:spChg>
        <pc:spChg chg="add del mod modVis">
          <ac:chgData name="Douglas Daniel Reinoso Peña" userId="60d62e81-f7d7-4b4c-92cc-63fb6a945bb4" providerId="ADAL" clId="{B815062A-1CE0-47B2-B6FA-D2837D2FEAA4}" dt="2024-11-18T20:58:28.547" v="58"/>
          <ac:spMkLst>
            <pc:docMk/>
            <pc:sldMasterMk cId="149844272" sldId="2147483648"/>
            <ac:spMk id="7" creationId="{69F97481-D83F-E3F1-2DB7-F9408213CA1B}"/>
          </ac:spMkLst>
        </pc:spChg>
        <pc:graphicFrameChg chg="add mod ord modVis">
          <ac:chgData name="Douglas Daniel Reinoso Peña" userId="60d62e81-f7d7-4b4c-92cc-63fb6a945bb4" providerId="ADAL" clId="{B815062A-1CE0-47B2-B6FA-D2837D2FEAA4}" dt="2024-11-18T20:58:28.880" v="72"/>
          <ac:graphicFrameMkLst>
            <pc:docMk/>
            <pc:sldMasterMk cId="149844272" sldId="2147483648"/>
            <ac:graphicFrameMk id="9" creationId="{AFBF492D-8844-2CB2-2CC5-CDFDFD40250B}"/>
          </ac:graphicFrameMkLst>
        </pc:graphicFrameChg>
        <pc:sldLayoutChg chg="del">
          <pc:chgData name="Douglas Daniel Reinoso Peña" userId="60d62e81-f7d7-4b4c-92cc-63fb6a945bb4" providerId="ADAL" clId="{B815062A-1CE0-47B2-B6FA-D2837D2FEAA4}" dt="2024-11-19T13:14:26.890" v="2791" actId="47"/>
          <pc:sldLayoutMkLst>
            <pc:docMk/>
            <pc:sldMasterMk cId="149844272" sldId="2147483648"/>
            <pc:sldLayoutMk cId="1302143329" sldId="2147483695"/>
          </pc:sldLayoutMkLst>
        </pc:sldLayoutChg>
        <pc:sldLayoutChg chg="del">
          <pc:chgData name="Douglas Daniel Reinoso Peña" userId="60d62e81-f7d7-4b4c-92cc-63fb6a945bb4" providerId="ADAL" clId="{B815062A-1CE0-47B2-B6FA-D2837D2FEAA4}" dt="2024-11-20T13:07:40.687" v="6715" actId="47"/>
          <pc:sldLayoutMkLst>
            <pc:docMk/>
            <pc:sldMasterMk cId="149844272" sldId="2147483648"/>
            <pc:sldLayoutMk cId="2525811086" sldId="214748369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32D40D-6CEA-3F4E-941A-2A3CEBEA7057}" type="datetimeFigureOut">
              <a:rPr lang="es-CL" smtClean="0"/>
              <a:t>16-12-2024</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21C304-D847-BE4A-9004-BDFF94005713}" type="slidenum">
              <a:rPr lang="es-CL" smtClean="0"/>
              <a:t>‹Nº›</a:t>
            </a:fld>
            <a:endParaRPr lang="es-CL"/>
          </a:p>
        </p:txBody>
      </p:sp>
    </p:spTree>
    <p:extLst>
      <p:ext uri="{BB962C8B-B14F-4D97-AF65-F5344CB8AC3E}">
        <p14:creationId xmlns:p14="http://schemas.microsoft.com/office/powerpoint/2010/main" val="41510467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734A23-3A59-D756-A569-8703D3F2F7E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3592E2BE-CE78-1165-D2FE-D537573ECAA8}"/>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C33A1A52-F94B-768C-A1DB-F0A02D8D1D9F}"/>
              </a:ext>
            </a:extLst>
          </p:cNvPr>
          <p:cNvSpPr>
            <a:spLocks noGrp="1"/>
          </p:cNvSpPr>
          <p:nvPr>
            <p:ph type="body" idx="1"/>
          </p:nvPr>
        </p:nvSpPr>
        <p:spPr/>
        <p:txBody>
          <a:bodyPr/>
          <a:lstStyle/>
          <a:p>
            <a:pPr marL="171450" indent="-171450">
              <a:buClr>
                <a:srgbClr val="9A3488"/>
              </a:buClr>
              <a:buFont typeface="Arial" panose="020B0604020202020204" pitchFamily="34" charset="0"/>
              <a:buChar char="•"/>
            </a:pPr>
            <a:r>
              <a:rPr lang="es-CL"/>
              <a:t>Talleres Ejecutivos: </a:t>
            </a:r>
            <a:r>
              <a:rPr lang="es-CL" sz="1200">
                <a:solidFill>
                  <a:schemeClr val="tx1">
                    <a:lumMod val="65000"/>
                    <a:lumOff val="35000"/>
                  </a:schemeClr>
                </a:solidFill>
                <a:latin typeface="Century Gothic" panose="020B0502020202020204" pitchFamily="34" charset="0"/>
              </a:rPr>
              <a:t>G. Planificación y Clientes, G. de Ingeniería, D. de Transporte de Pasajeros, D. de Negocios, G. de Seguridad de la Información y D. de Proyectos.</a:t>
            </a:r>
          </a:p>
          <a:p>
            <a:pPr marL="171450" indent="-171450">
              <a:buClr>
                <a:srgbClr val="9A3488"/>
              </a:buClr>
              <a:buFont typeface="Arial" panose="020B0604020202020204" pitchFamily="34" charset="0"/>
              <a:buChar char="•"/>
            </a:pPr>
            <a:r>
              <a:rPr lang="es-CL" sz="1200">
                <a:solidFill>
                  <a:schemeClr val="tx1">
                    <a:lumMod val="65000"/>
                    <a:lumOff val="35000"/>
                  </a:schemeClr>
                </a:solidFill>
                <a:latin typeface="Century Gothic" panose="020B0502020202020204" pitchFamily="34" charset="0"/>
              </a:rPr>
              <a:t>Talleres Ampliados: G. de Ingeniería, G. Administración y Finanzas, G. Comunicaciones y Sostenibilidad, D. de Negocios, D. de Proyectos, G. Planificación y Clientes y D. de Transporte de Pasajeros.</a:t>
            </a:r>
          </a:p>
          <a:p>
            <a:pPr marL="171450" indent="-171450">
              <a:buClr>
                <a:srgbClr val="9A3488"/>
              </a:buClr>
              <a:buFont typeface="Arial" panose="020B0604020202020204" pitchFamily="34" charset="0"/>
              <a:buChar char="•"/>
            </a:pPr>
            <a:endParaRPr lang="es-CL" sz="1200">
              <a:solidFill>
                <a:schemeClr val="tx1">
                  <a:lumMod val="65000"/>
                  <a:lumOff val="35000"/>
                </a:schemeClr>
              </a:solidFill>
              <a:latin typeface="Century Gothic" panose="020B0502020202020204" pitchFamily="34" charset="0"/>
            </a:endParaRPr>
          </a:p>
        </p:txBody>
      </p:sp>
      <p:sp>
        <p:nvSpPr>
          <p:cNvPr id="4" name="Marcador de número de diapositiva 3">
            <a:extLst>
              <a:ext uri="{FF2B5EF4-FFF2-40B4-BE49-F238E27FC236}">
                <a16:creationId xmlns:a16="http://schemas.microsoft.com/office/drawing/2014/main" id="{99A79F02-F9D0-8AF6-315A-6EF5C6E70BD4}"/>
              </a:ext>
            </a:extLst>
          </p:cNvPr>
          <p:cNvSpPr>
            <a:spLocks noGrp="1"/>
          </p:cNvSpPr>
          <p:nvPr>
            <p:ph type="sldNum" sz="quarter" idx="5"/>
          </p:nvPr>
        </p:nvSpPr>
        <p:spPr/>
        <p:txBody>
          <a:bodyPr/>
          <a:lstStyle/>
          <a:p>
            <a:fld id="{331BF3F5-95F1-4C41-8817-804FA70F06F5}" type="slidenum">
              <a:rPr lang="es-CL" smtClean="0"/>
              <a:t>4</a:t>
            </a:fld>
            <a:endParaRPr lang="es-CL"/>
          </a:p>
        </p:txBody>
      </p:sp>
    </p:spTree>
    <p:extLst>
      <p:ext uri="{BB962C8B-B14F-4D97-AF65-F5344CB8AC3E}">
        <p14:creationId xmlns:p14="http://schemas.microsoft.com/office/powerpoint/2010/main" val="2664146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Clr>
                <a:srgbClr val="9A3488"/>
              </a:buClr>
              <a:buFont typeface="Arial" panose="020B0604020202020204" pitchFamily="34" charset="0"/>
              <a:buChar char="•"/>
            </a:pPr>
            <a:r>
              <a:rPr lang="es-CL"/>
              <a:t>Talleres Ejecutivos: </a:t>
            </a:r>
            <a:r>
              <a:rPr lang="es-CL" sz="1200">
                <a:solidFill>
                  <a:schemeClr val="tx1">
                    <a:lumMod val="65000"/>
                    <a:lumOff val="35000"/>
                  </a:schemeClr>
                </a:solidFill>
                <a:latin typeface="Century Gothic" panose="020B0502020202020204" pitchFamily="34" charset="0"/>
              </a:rPr>
              <a:t>G. Planificación y Clientes, G. de Ingeniería, D. de Transporte de Pasajeros, D. de Negocios, G. de Seguridad de la Información y D. de Proyectos.</a:t>
            </a:r>
          </a:p>
          <a:p>
            <a:pPr marL="171450" indent="-171450">
              <a:buClr>
                <a:srgbClr val="9A3488"/>
              </a:buClr>
              <a:buFont typeface="Arial" panose="020B0604020202020204" pitchFamily="34" charset="0"/>
              <a:buChar char="•"/>
            </a:pPr>
            <a:r>
              <a:rPr lang="es-CL" sz="1200">
                <a:solidFill>
                  <a:schemeClr val="tx1">
                    <a:lumMod val="65000"/>
                    <a:lumOff val="35000"/>
                  </a:schemeClr>
                </a:solidFill>
                <a:latin typeface="Century Gothic" panose="020B0502020202020204" pitchFamily="34" charset="0"/>
              </a:rPr>
              <a:t>Talleres Ampliados: G. de Ingeniería, G. Administración y Finanzas, G. Comunicaciones y Sostenibilidad, D. de Negocios, D. de Proyectos, G. Planificación y Clientes y D. de Transporte de Pasajeros.</a:t>
            </a:r>
          </a:p>
          <a:p>
            <a:pPr marL="171450" indent="-171450">
              <a:buClr>
                <a:srgbClr val="9A3488"/>
              </a:buClr>
              <a:buFont typeface="Arial" panose="020B0604020202020204" pitchFamily="34" charset="0"/>
              <a:buChar char="•"/>
            </a:pPr>
            <a:endParaRPr lang="es-CL" sz="1200">
              <a:solidFill>
                <a:schemeClr val="tx1">
                  <a:lumMod val="65000"/>
                  <a:lumOff val="35000"/>
                </a:schemeClr>
              </a:solidFill>
              <a:latin typeface="Century Gothic" panose="020B0502020202020204" pitchFamily="34" charset="0"/>
            </a:endParaRPr>
          </a:p>
        </p:txBody>
      </p:sp>
      <p:sp>
        <p:nvSpPr>
          <p:cNvPr id="4" name="Marcador de número de diapositiva 3"/>
          <p:cNvSpPr>
            <a:spLocks noGrp="1"/>
          </p:cNvSpPr>
          <p:nvPr>
            <p:ph type="sldNum" sz="quarter" idx="5"/>
          </p:nvPr>
        </p:nvSpPr>
        <p:spPr/>
        <p:txBody>
          <a:bodyPr/>
          <a:lstStyle/>
          <a:p>
            <a:fld id="{331BF3F5-95F1-4C41-8817-804FA70F06F5}" type="slidenum">
              <a:rPr lang="es-CL" smtClean="0"/>
              <a:t>6</a:t>
            </a:fld>
            <a:endParaRPr lang="es-CL"/>
          </a:p>
        </p:txBody>
      </p:sp>
    </p:spTree>
    <p:extLst>
      <p:ext uri="{BB962C8B-B14F-4D97-AF65-F5344CB8AC3E}">
        <p14:creationId xmlns:p14="http://schemas.microsoft.com/office/powerpoint/2010/main" val="25566585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28600" indent="-228600">
              <a:buAutoNum type="arabicPeriod"/>
            </a:pPr>
            <a:r>
              <a:rPr lang="es-CL"/>
              <a:t>Se aborda en proyecto de Revalorización</a:t>
            </a:r>
          </a:p>
          <a:p>
            <a:pPr marL="228600" indent="-228600">
              <a:buAutoNum type="arabicPeriod"/>
            </a:pPr>
            <a:r>
              <a:rPr lang="es-CL"/>
              <a:t>Proyecto estratégico de seguridad, modernización del sistema CCTV</a:t>
            </a:r>
          </a:p>
          <a:p>
            <a:pPr marL="228600" indent="-228600">
              <a:buAutoNum type="arabicPeriod"/>
            </a:pPr>
            <a:r>
              <a:rPr lang="es-CL"/>
              <a:t>Todos los proyectos AU, Ascensores, Plataformas, Escaleras, disminución de brechas de AU</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E6392-74F0-49DE-B3ED-F3AAB80C9481}"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6796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Clr>
                <a:srgbClr val="9A3488"/>
              </a:buClr>
              <a:buFont typeface="Arial" panose="020B0604020202020204" pitchFamily="34" charset="0"/>
              <a:buChar char="•"/>
            </a:pPr>
            <a:r>
              <a:rPr lang="es-CL"/>
              <a:t>Talleres Ejecutivos: </a:t>
            </a:r>
            <a:r>
              <a:rPr lang="es-CL" sz="1200">
                <a:solidFill>
                  <a:schemeClr val="tx1">
                    <a:lumMod val="65000"/>
                    <a:lumOff val="35000"/>
                  </a:schemeClr>
                </a:solidFill>
                <a:latin typeface="Century Gothic" panose="020B0502020202020204" pitchFamily="34" charset="0"/>
              </a:rPr>
              <a:t>G. Planificación y Clientes, G. de Ingeniería, D. de Transporte de Pasajeros, D. de Negocios, G. de Seguridad de la Información y D. de Proyectos.</a:t>
            </a:r>
          </a:p>
          <a:p>
            <a:pPr marL="171450" indent="-171450">
              <a:buClr>
                <a:srgbClr val="9A3488"/>
              </a:buClr>
              <a:buFont typeface="Arial" panose="020B0604020202020204" pitchFamily="34" charset="0"/>
              <a:buChar char="•"/>
            </a:pPr>
            <a:r>
              <a:rPr lang="es-CL" sz="1200">
                <a:solidFill>
                  <a:schemeClr val="tx1">
                    <a:lumMod val="65000"/>
                    <a:lumOff val="35000"/>
                  </a:schemeClr>
                </a:solidFill>
                <a:latin typeface="Century Gothic" panose="020B0502020202020204" pitchFamily="34" charset="0"/>
              </a:rPr>
              <a:t>Talleres Ampliados: G. de Ingeniería, G. Administración y Finanzas, G. Comunicaciones y Sostenibilidad, D. de Negocios, D. de Proyectos, G. Planificación y Clientes y D. de Transporte de Pasajeros.</a:t>
            </a:r>
          </a:p>
          <a:p>
            <a:pPr marL="171450" indent="-171450">
              <a:buClr>
                <a:srgbClr val="9A3488"/>
              </a:buClr>
              <a:buFont typeface="Arial" panose="020B0604020202020204" pitchFamily="34" charset="0"/>
              <a:buChar char="•"/>
            </a:pPr>
            <a:endParaRPr lang="es-CL" sz="1200">
              <a:solidFill>
                <a:schemeClr val="tx1">
                  <a:lumMod val="65000"/>
                  <a:lumOff val="35000"/>
                </a:schemeClr>
              </a:solidFill>
              <a:latin typeface="Century Gothic" panose="020B0502020202020204" pitchFamily="34" charset="0"/>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1BF3F5-95F1-4C41-8817-804FA70F06F5}" type="slidenum">
              <a:rPr kumimoji="0" lang="es-CL"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CL"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83370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4452D-CDCC-3CBD-94F4-DF369E94E1D4}"/>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0958B01-1F1C-EB29-0E11-CB654FBC35E0}"/>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158C1A3-E1EA-698D-10CE-C0A3DEC5C7D7}"/>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8EC80E36-6DB9-D8F3-D7F9-01A9FF1897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CC2301-6446-4632-A442-257F33F21F80}"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3140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39595-FE8B-7FB1-EC12-B515D6B90B7F}"/>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871AE69D-CAB9-6DF6-7CFD-176ACFAA226D}"/>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D75520F1-4E03-3BA6-98DA-50DFD7DF8C50}"/>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5E40DD61-066F-0F38-52D6-1C0B74D23D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CC2301-6446-4632-A442-257F33F21F80}"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6977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986FE-27B4-DAD2-A04B-E45BC8D71751}"/>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D335A0F0-A062-C674-7D60-17E3E731A7C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0487CF41-0A48-6FF6-5AC4-223E8F2CC613}"/>
              </a:ext>
            </a:extLst>
          </p:cNvPr>
          <p:cNvSpPr>
            <a:spLocks noGrp="1"/>
          </p:cNvSpPr>
          <p:nvPr>
            <p:ph type="body" idx="1"/>
          </p:nvPr>
        </p:nvSpPr>
        <p:spPr/>
        <p:txBody>
          <a:bodyPr/>
          <a:lstStyle/>
          <a:p>
            <a:endParaRPr lang="es-CL"/>
          </a:p>
        </p:txBody>
      </p:sp>
      <p:sp>
        <p:nvSpPr>
          <p:cNvPr id="4" name="Marcador de número de diapositiva 3">
            <a:extLst>
              <a:ext uri="{FF2B5EF4-FFF2-40B4-BE49-F238E27FC236}">
                <a16:creationId xmlns:a16="http://schemas.microsoft.com/office/drawing/2014/main" id="{023544DF-1AC6-8D6F-EAF5-540CA13E3B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998709-2256-4568-99A4-9B1DAFC58E88}" type="slidenum">
              <a:rPr kumimoji="0" lang="es-C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3820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9.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0.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300039" y="1444370"/>
            <a:ext cx="5688011" cy="1266983"/>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300039" y="2740642"/>
            <a:ext cx="5688011" cy="1655762"/>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11" name="Rectángulo 10">
            <a:extLst>
              <a:ext uri="{FF2B5EF4-FFF2-40B4-BE49-F238E27FC236}">
                <a16:creationId xmlns:a16="http://schemas.microsoft.com/office/drawing/2014/main" id="{1BB6289D-B75D-3B52-0840-5BCB542B6150}"/>
              </a:ext>
            </a:extLst>
          </p:cNvPr>
          <p:cNvSpPr/>
          <p:nvPr userDrawn="1"/>
        </p:nvSpPr>
        <p:spPr>
          <a:xfrm>
            <a:off x="1" y="5953760"/>
            <a:ext cx="904240" cy="9042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a:blip r:embed="rId2"/>
          <a:srcRect l="14244" r="14244"/>
          <a:stretch/>
        </p:blipFill>
        <p:spPr>
          <a:xfrm>
            <a:off x="6390640" y="1444370"/>
            <a:ext cx="5801360" cy="5413629"/>
          </a:xfrm>
          <a:prstGeom prst="rect">
            <a:avLst/>
          </a:prstGeom>
        </p:spPr>
      </p:pic>
      <p:pic>
        <p:nvPicPr>
          <p:cNvPr id="5" name="Imagen 4">
            <a:extLst>
              <a:ext uri="{FF2B5EF4-FFF2-40B4-BE49-F238E27FC236}">
                <a16:creationId xmlns:a16="http://schemas.microsoft.com/office/drawing/2014/main" id="{DA291C30-4261-6628-B355-1B4D518CEE3B}"/>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4629902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Rectángulo 3">
            <a:extLst>
              <a:ext uri="{FF2B5EF4-FFF2-40B4-BE49-F238E27FC236}">
                <a16:creationId xmlns:a16="http://schemas.microsoft.com/office/drawing/2014/main" id="{7A6605F6-650D-B183-399E-19E679348F0B}"/>
              </a:ext>
            </a:extLst>
          </p:cNvPr>
          <p:cNvSpPr/>
          <p:nvPr userDrawn="1"/>
        </p:nvSpPr>
        <p:spPr>
          <a:xfrm>
            <a:off x="6096000" y="3429000"/>
            <a:ext cx="6096000" cy="3429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rotWithShape="1">
          <a:blip r:embed="rId2"/>
          <a:srcRect t="34861" b="22993"/>
          <a:stretch/>
        </p:blipFill>
        <p:spPr>
          <a:xfrm>
            <a:off x="0" y="0"/>
            <a:ext cx="12192000" cy="3429000"/>
          </a:xfrm>
          <a:prstGeom prst="rect">
            <a:avLst/>
          </a:prstGeom>
        </p:spPr>
      </p:pic>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300039" y="3659250"/>
            <a:ext cx="5572442" cy="1266983"/>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300039" y="4955522"/>
            <a:ext cx="5572442"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6329681" y="3659250"/>
            <a:ext cx="5500496" cy="2876742"/>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pic>
        <p:nvPicPr>
          <p:cNvPr id="7" name="Imagen 6">
            <a:extLst>
              <a:ext uri="{FF2B5EF4-FFF2-40B4-BE49-F238E27FC236}">
                <a16:creationId xmlns:a16="http://schemas.microsoft.com/office/drawing/2014/main" id="{F11C3B20-2985-54F3-8832-8F43816130BD}"/>
              </a:ext>
            </a:extLst>
          </p:cNvPr>
          <p:cNvPicPr>
            <a:picLocks noChangeAspect="1"/>
          </p:cNvPicPr>
          <p:nvPr userDrawn="1"/>
        </p:nvPicPr>
        <p:blipFill>
          <a:blip r:embed="rId3"/>
          <a:srcRect/>
          <a:stretch/>
        </p:blipFill>
        <p:spPr>
          <a:xfrm>
            <a:off x="8204295" y="322683"/>
            <a:ext cx="3625882" cy="836292"/>
          </a:xfrm>
          <a:prstGeom prst="rect">
            <a:avLst/>
          </a:prstGeom>
        </p:spPr>
      </p:pic>
    </p:spTree>
    <p:extLst>
      <p:ext uri="{BB962C8B-B14F-4D97-AF65-F5344CB8AC3E}">
        <p14:creationId xmlns:p14="http://schemas.microsoft.com/office/powerpoint/2010/main" val="18387657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ortada 2">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Rectángulo 3">
            <a:extLst>
              <a:ext uri="{FF2B5EF4-FFF2-40B4-BE49-F238E27FC236}">
                <a16:creationId xmlns:a16="http://schemas.microsoft.com/office/drawing/2014/main" id="{7A6605F6-650D-B183-399E-19E679348F0B}"/>
              </a:ext>
            </a:extLst>
          </p:cNvPr>
          <p:cNvSpPr/>
          <p:nvPr userDrawn="1"/>
        </p:nvSpPr>
        <p:spPr>
          <a:xfrm>
            <a:off x="6096000" y="3429000"/>
            <a:ext cx="6096000" cy="3429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rotWithShape="1">
          <a:blip r:embed="rId2"/>
          <a:srcRect t="15708" b="42146"/>
          <a:stretch/>
        </p:blipFill>
        <p:spPr>
          <a:xfrm>
            <a:off x="0" y="0"/>
            <a:ext cx="12192000" cy="3429000"/>
          </a:xfrm>
          <a:prstGeom prst="rect">
            <a:avLst/>
          </a:prstGeom>
        </p:spPr>
      </p:pic>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300039" y="3659250"/>
            <a:ext cx="5572442" cy="1266983"/>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300039" y="4955522"/>
            <a:ext cx="5572442"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6329681" y="3659250"/>
            <a:ext cx="5500496" cy="2876742"/>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pic>
        <p:nvPicPr>
          <p:cNvPr id="7" name="Imagen 6">
            <a:extLst>
              <a:ext uri="{FF2B5EF4-FFF2-40B4-BE49-F238E27FC236}">
                <a16:creationId xmlns:a16="http://schemas.microsoft.com/office/drawing/2014/main" id="{0BE02E79-1D1F-5C41-FD3A-959D7A49372A}"/>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2410868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ortada 3">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a:blip r:embed="rId2"/>
          <a:srcRect t="7855" b="7855"/>
          <a:stretch/>
        </p:blipFill>
        <p:spPr>
          <a:xfrm>
            <a:off x="0" y="0"/>
            <a:ext cx="12192000" cy="6858000"/>
          </a:xfrm>
          <a:prstGeom prst="rect">
            <a:avLst/>
          </a:prstGeom>
        </p:spPr>
      </p:pic>
      <p:sp>
        <p:nvSpPr>
          <p:cNvPr id="8" name="Rectángulo 7">
            <a:extLst>
              <a:ext uri="{FF2B5EF4-FFF2-40B4-BE49-F238E27FC236}">
                <a16:creationId xmlns:a16="http://schemas.microsoft.com/office/drawing/2014/main" id="{415650C6-2F50-6BCD-3132-6F0E3AC3869B}"/>
              </a:ext>
            </a:extLst>
          </p:cNvPr>
          <p:cNvSpPr/>
          <p:nvPr userDrawn="1"/>
        </p:nvSpPr>
        <p:spPr>
          <a:xfrm>
            <a:off x="7238683" y="2813113"/>
            <a:ext cx="4653280" cy="3711512"/>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Rectángulo 3">
            <a:extLst>
              <a:ext uri="{FF2B5EF4-FFF2-40B4-BE49-F238E27FC236}">
                <a16:creationId xmlns:a16="http://schemas.microsoft.com/office/drawing/2014/main" id="{7A6605F6-650D-B183-399E-19E679348F0B}"/>
              </a:ext>
            </a:extLst>
          </p:cNvPr>
          <p:cNvSpPr/>
          <p:nvPr userDrawn="1"/>
        </p:nvSpPr>
        <p:spPr>
          <a:xfrm>
            <a:off x="0" y="0"/>
            <a:ext cx="800355" cy="800355"/>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7435658" y="3032324"/>
            <a:ext cx="4263265" cy="1100120"/>
          </a:xfrm>
        </p:spPr>
        <p:txBody>
          <a:bodyPr anchor="t">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7435658" y="4544206"/>
            <a:ext cx="4263265"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7435658" y="5232564"/>
            <a:ext cx="4263265" cy="1095908"/>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p:txBody>
      </p:sp>
      <p:pic>
        <p:nvPicPr>
          <p:cNvPr id="6" name="Imagen 5">
            <a:extLst>
              <a:ext uri="{FF2B5EF4-FFF2-40B4-BE49-F238E27FC236}">
                <a16:creationId xmlns:a16="http://schemas.microsoft.com/office/drawing/2014/main" id="{A16D1670-652C-425D-4B4A-13ACFA9E3CBA}"/>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9575884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Portada 3">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rotWithShape="1">
          <a:blip r:embed="rId2"/>
          <a:srcRect b="15710"/>
          <a:stretch/>
        </p:blipFill>
        <p:spPr>
          <a:xfrm>
            <a:off x="0" y="0"/>
            <a:ext cx="12192000" cy="6858000"/>
          </a:xfrm>
          <a:prstGeom prst="rect">
            <a:avLst/>
          </a:prstGeom>
        </p:spPr>
      </p:pic>
      <p:sp>
        <p:nvSpPr>
          <p:cNvPr id="8" name="Rectángulo 7">
            <a:extLst>
              <a:ext uri="{FF2B5EF4-FFF2-40B4-BE49-F238E27FC236}">
                <a16:creationId xmlns:a16="http://schemas.microsoft.com/office/drawing/2014/main" id="{415650C6-2F50-6BCD-3132-6F0E3AC3869B}"/>
              </a:ext>
            </a:extLst>
          </p:cNvPr>
          <p:cNvSpPr/>
          <p:nvPr userDrawn="1"/>
        </p:nvSpPr>
        <p:spPr>
          <a:xfrm>
            <a:off x="7238683" y="2813113"/>
            <a:ext cx="4653280" cy="3711512"/>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Rectángulo 3">
            <a:extLst>
              <a:ext uri="{FF2B5EF4-FFF2-40B4-BE49-F238E27FC236}">
                <a16:creationId xmlns:a16="http://schemas.microsoft.com/office/drawing/2014/main" id="{7A6605F6-650D-B183-399E-19E679348F0B}"/>
              </a:ext>
            </a:extLst>
          </p:cNvPr>
          <p:cNvSpPr/>
          <p:nvPr userDrawn="1"/>
        </p:nvSpPr>
        <p:spPr>
          <a:xfrm>
            <a:off x="0" y="0"/>
            <a:ext cx="800355" cy="800355"/>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7435658" y="3032324"/>
            <a:ext cx="4263265" cy="1100120"/>
          </a:xfrm>
        </p:spPr>
        <p:txBody>
          <a:bodyPr anchor="t">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7435658" y="4544206"/>
            <a:ext cx="4263265"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7435658" y="5232564"/>
            <a:ext cx="4263265" cy="1095908"/>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p:txBody>
      </p:sp>
      <p:pic>
        <p:nvPicPr>
          <p:cNvPr id="6" name="Imagen 5">
            <a:extLst>
              <a:ext uri="{FF2B5EF4-FFF2-40B4-BE49-F238E27FC236}">
                <a16:creationId xmlns:a16="http://schemas.microsoft.com/office/drawing/2014/main" id="{5ACF7F9B-7394-5290-A214-FDDEDC141C9B}"/>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32438249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Portada 3">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rotWithShape="1">
          <a:blip r:embed="rId2"/>
          <a:srcRect t="15710"/>
          <a:stretch/>
        </p:blipFill>
        <p:spPr>
          <a:xfrm>
            <a:off x="0" y="0"/>
            <a:ext cx="12192000" cy="6858000"/>
          </a:xfrm>
          <a:prstGeom prst="rect">
            <a:avLst/>
          </a:prstGeom>
        </p:spPr>
      </p:pic>
      <p:sp>
        <p:nvSpPr>
          <p:cNvPr id="8" name="Rectángulo 7">
            <a:extLst>
              <a:ext uri="{FF2B5EF4-FFF2-40B4-BE49-F238E27FC236}">
                <a16:creationId xmlns:a16="http://schemas.microsoft.com/office/drawing/2014/main" id="{415650C6-2F50-6BCD-3132-6F0E3AC3869B}"/>
              </a:ext>
            </a:extLst>
          </p:cNvPr>
          <p:cNvSpPr/>
          <p:nvPr userDrawn="1"/>
        </p:nvSpPr>
        <p:spPr>
          <a:xfrm>
            <a:off x="300038" y="3321050"/>
            <a:ext cx="5795962" cy="3203575"/>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Rectángulo 3">
            <a:extLst>
              <a:ext uri="{FF2B5EF4-FFF2-40B4-BE49-F238E27FC236}">
                <a16:creationId xmlns:a16="http://schemas.microsoft.com/office/drawing/2014/main" id="{7A6605F6-650D-B183-399E-19E679348F0B}"/>
              </a:ext>
            </a:extLst>
          </p:cNvPr>
          <p:cNvSpPr/>
          <p:nvPr userDrawn="1"/>
        </p:nvSpPr>
        <p:spPr>
          <a:xfrm>
            <a:off x="0" y="0"/>
            <a:ext cx="800355" cy="800355"/>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497013" y="3429000"/>
            <a:ext cx="5491037" cy="953844"/>
          </a:xfrm>
        </p:spPr>
        <p:txBody>
          <a:bodyPr anchor="t">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497013" y="4407516"/>
            <a:ext cx="5491037"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497013" y="5095874"/>
            <a:ext cx="5491037" cy="1232597"/>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p:txBody>
      </p:sp>
      <p:pic>
        <p:nvPicPr>
          <p:cNvPr id="6" name="Imagen 5">
            <a:extLst>
              <a:ext uri="{FF2B5EF4-FFF2-40B4-BE49-F238E27FC236}">
                <a16:creationId xmlns:a16="http://schemas.microsoft.com/office/drawing/2014/main" id="{3A825A6C-F556-0578-09E2-860582322732}"/>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6728950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ortada 3">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a:blip r:embed="rId2"/>
          <a:srcRect t="7855" b="7855"/>
          <a:stretch/>
        </p:blipFill>
        <p:spPr>
          <a:xfrm flipH="1">
            <a:off x="0" y="0"/>
            <a:ext cx="12192000" cy="6858000"/>
          </a:xfrm>
          <a:prstGeom prst="rect">
            <a:avLst/>
          </a:prstGeom>
        </p:spPr>
      </p:pic>
      <p:sp>
        <p:nvSpPr>
          <p:cNvPr id="8" name="Rectángulo 7">
            <a:extLst>
              <a:ext uri="{FF2B5EF4-FFF2-40B4-BE49-F238E27FC236}">
                <a16:creationId xmlns:a16="http://schemas.microsoft.com/office/drawing/2014/main" id="{415650C6-2F50-6BCD-3132-6F0E3AC3869B}"/>
              </a:ext>
            </a:extLst>
          </p:cNvPr>
          <p:cNvSpPr/>
          <p:nvPr userDrawn="1"/>
        </p:nvSpPr>
        <p:spPr>
          <a:xfrm>
            <a:off x="300038" y="1700784"/>
            <a:ext cx="4015930" cy="4823841"/>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Rectángulo 3">
            <a:extLst>
              <a:ext uri="{FF2B5EF4-FFF2-40B4-BE49-F238E27FC236}">
                <a16:creationId xmlns:a16="http://schemas.microsoft.com/office/drawing/2014/main" id="{7A6605F6-650D-B183-399E-19E679348F0B}"/>
              </a:ext>
            </a:extLst>
          </p:cNvPr>
          <p:cNvSpPr/>
          <p:nvPr userDrawn="1"/>
        </p:nvSpPr>
        <p:spPr>
          <a:xfrm>
            <a:off x="0" y="0"/>
            <a:ext cx="800355" cy="800355"/>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497013" y="1951078"/>
            <a:ext cx="3636075" cy="1907689"/>
          </a:xfrm>
        </p:spPr>
        <p:txBody>
          <a:bodyPr anchor="t">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497013" y="3949846"/>
            <a:ext cx="3636075"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497013" y="4638204"/>
            <a:ext cx="3636075" cy="1690268"/>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p:txBody>
      </p:sp>
      <p:pic>
        <p:nvPicPr>
          <p:cNvPr id="6" name="Imagen 5">
            <a:extLst>
              <a:ext uri="{FF2B5EF4-FFF2-40B4-BE49-F238E27FC236}">
                <a16:creationId xmlns:a16="http://schemas.microsoft.com/office/drawing/2014/main" id="{CB0927CB-4B3F-77BD-5872-69799097DF20}"/>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19348184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Portada 3">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rotWithShape="1">
          <a:blip r:embed="rId2"/>
          <a:srcRect t="2609" b="13101"/>
          <a:stretch/>
        </p:blipFill>
        <p:spPr>
          <a:xfrm>
            <a:off x="0" y="0"/>
            <a:ext cx="12192000" cy="6858000"/>
          </a:xfrm>
          <a:prstGeom prst="rect">
            <a:avLst/>
          </a:prstGeom>
        </p:spPr>
      </p:pic>
      <p:sp>
        <p:nvSpPr>
          <p:cNvPr id="8" name="Rectángulo 7">
            <a:extLst>
              <a:ext uri="{FF2B5EF4-FFF2-40B4-BE49-F238E27FC236}">
                <a16:creationId xmlns:a16="http://schemas.microsoft.com/office/drawing/2014/main" id="{415650C6-2F50-6BCD-3132-6F0E3AC3869B}"/>
              </a:ext>
            </a:extLst>
          </p:cNvPr>
          <p:cNvSpPr/>
          <p:nvPr userDrawn="1"/>
        </p:nvSpPr>
        <p:spPr>
          <a:xfrm>
            <a:off x="300038" y="1262634"/>
            <a:ext cx="4015930" cy="4823841"/>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Rectángulo 3">
            <a:extLst>
              <a:ext uri="{FF2B5EF4-FFF2-40B4-BE49-F238E27FC236}">
                <a16:creationId xmlns:a16="http://schemas.microsoft.com/office/drawing/2014/main" id="{7A6605F6-650D-B183-399E-19E679348F0B}"/>
              </a:ext>
            </a:extLst>
          </p:cNvPr>
          <p:cNvSpPr/>
          <p:nvPr userDrawn="1"/>
        </p:nvSpPr>
        <p:spPr>
          <a:xfrm>
            <a:off x="0" y="0"/>
            <a:ext cx="800355" cy="800355"/>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497013" y="1512928"/>
            <a:ext cx="3636075" cy="1907689"/>
          </a:xfrm>
        </p:spPr>
        <p:txBody>
          <a:bodyPr anchor="t">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497013" y="3511696"/>
            <a:ext cx="3636075"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497013" y="4200054"/>
            <a:ext cx="3636075" cy="1690268"/>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p:txBody>
      </p:sp>
      <p:pic>
        <p:nvPicPr>
          <p:cNvPr id="9" name="Imagen 8">
            <a:extLst>
              <a:ext uri="{FF2B5EF4-FFF2-40B4-BE49-F238E27FC236}">
                <a16:creationId xmlns:a16="http://schemas.microsoft.com/office/drawing/2014/main" id="{AFE47AB0-4522-1CE8-E5C8-08B2322C692D}"/>
              </a:ext>
            </a:extLst>
          </p:cNvPr>
          <p:cNvPicPr>
            <a:picLocks noChangeAspect="1"/>
          </p:cNvPicPr>
          <p:nvPr userDrawn="1"/>
        </p:nvPicPr>
        <p:blipFill>
          <a:blip r:embed="rId3"/>
          <a:srcRect/>
          <a:stretch/>
        </p:blipFill>
        <p:spPr>
          <a:xfrm>
            <a:off x="8204295" y="322683"/>
            <a:ext cx="3625882" cy="836292"/>
          </a:xfrm>
          <a:prstGeom prst="rect">
            <a:avLst/>
          </a:prstGeom>
        </p:spPr>
      </p:pic>
    </p:spTree>
    <p:extLst>
      <p:ext uri="{BB962C8B-B14F-4D97-AF65-F5344CB8AC3E}">
        <p14:creationId xmlns:p14="http://schemas.microsoft.com/office/powerpoint/2010/main" val="13271774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ido 1">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A1599A3D-3B5C-5642-D197-AB299926F4EE}"/>
              </a:ext>
            </a:extLst>
          </p:cNvPr>
          <p:cNvPicPr>
            <a:picLocks noChangeAspect="1"/>
          </p:cNvPicPr>
          <p:nvPr userDrawn="1"/>
        </p:nvPicPr>
        <p:blipFill>
          <a:blip r:embed="rId2"/>
          <a:srcRect l="20866" r="20866"/>
          <a:stretch/>
        </p:blipFill>
        <p:spPr>
          <a:xfrm>
            <a:off x="6203953" y="0"/>
            <a:ext cx="5988048" cy="6858000"/>
          </a:xfrm>
          <a:prstGeom prst="rect">
            <a:avLst/>
          </a:prstGeom>
        </p:spPr>
      </p:pic>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300039" y="1444370"/>
            <a:ext cx="5688011" cy="1266983"/>
          </a:xfrm>
        </p:spPr>
        <p:txBody>
          <a:bodyPr anchor="b">
            <a:normAutofit/>
          </a:bodyPr>
          <a:lstStyle>
            <a:lvl1pPr algn="l">
              <a:defRPr sz="3600" b="0" i="0">
                <a:solidFill>
                  <a:srgbClr val="1E1D26"/>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300039" y="2740642"/>
            <a:ext cx="5688011"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300039" y="3556000"/>
            <a:ext cx="5688011" cy="2499360"/>
          </a:xfrm>
        </p:spPr>
        <p:txBody>
          <a:bodyPr>
            <a:normAutofit/>
          </a:bodyPr>
          <a:lstStyle>
            <a:lvl1pPr marL="0" indent="0">
              <a:buNone/>
              <a:defRPr sz="1400" b="0" i="0">
                <a:solidFill>
                  <a:srgbClr val="1E1D26"/>
                </a:solidFill>
                <a:latin typeface="Montserrat" pitchFamily="2" charset="77"/>
              </a:defRPr>
            </a:lvl1pPr>
            <a:lvl2pPr marL="457200" indent="0">
              <a:buNone/>
              <a:defRPr sz="1200" b="0" i="0">
                <a:solidFill>
                  <a:srgbClr val="1E1D26"/>
                </a:solidFill>
                <a:latin typeface="Montserrat" pitchFamily="2" charset="77"/>
              </a:defRPr>
            </a:lvl2pPr>
            <a:lvl3pPr marL="914400" indent="0">
              <a:buNone/>
              <a:defRPr sz="1100" b="0" i="0">
                <a:solidFill>
                  <a:srgbClr val="1E1D26"/>
                </a:solidFill>
                <a:latin typeface="Montserrat" pitchFamily="2" charset="77"/>
              </a:defRPr>
            </a:lvl3pPr>
            <a:lvl4pPr marL="1371600" indent="0">
              <a:buNone/>
              <a:defRPr sz="1050" b="0" i="0">
                <a:solidFill>
                  <a:srgbClr val="1E1D26"/>
                </a:solidFill>
                <a:latin typeface="Montserrat" pitchFamily="2" charset="77"/>
              </a:defRPr>
            </a:lvl4pPr>
            <a:lvl5pPr marL="1828800" indent="0">
              <a:buNone/>
              <a:defRPr sz="1050" b="0" i="0">
                <a:solidFill>
                  <a:srgbClr val="1E1D26"/>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4" name="Rectángulo 3">
            <a:extLst>
              <a:ext uri="{FF2B5EF4-FFF2-40B4-BE49-F238E27FC236}">
                <a16:creationId xmlns:a16="http://schemas.microsoft.com/office/drawing/2014/main" id="{D9431462-74B8-53DB-5148-E85F5ADE787B}"/>
              </a:ext>
            </a:extLst>
          </p:cNvPr>
          <p:cNvSpPr/>
          <p:nvPr userDrawn="1"/>
        </p:nvSpPr>
        <p:spPr>
          <a:xfrm>
            <a:off x="11287760" y="5953760"/>
            <a:ext cx="904240" cy="9042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6" name="Imagen 5">
            <a:extLst>
              <a:ext uri="{FF2B5EF4-FFF2-40B4-BE49-F238E27FC236}">
                <a16:creationId xmlns:a16="http://schemas.microsoft.com/office/drawing/2014/main" id="{BD00B342-D474-890C-F3F1-5660CD8EDFFB}"/>
              </a:ext>
            </a:extLst>
          </p:cNvPr>
          <p:cNvPicPr>
            <a:picLocks noChangeAspect="1"/>
          </p:cNvPicPr>
          <p:nvPr userDrawn="1"/>
        </p:nvPicPr>
        <p:blipFill>
          <a:blip r:embed="rId3"/>
          <a:srcRect/>
          <a:stretch/>
        </p:blipFill>
        <p:spPr>
          <a:xfrm>
            <a:off x="8204295" y="322683"/>
            <a:ext cx="3625882" cy="836292"/>
          </a:xfrm>
          <a:prstGeom prst="rect">
            <a:avLst/>
          </a:prstGeom>
        </p:spPr>
      </p:pic>
    </p:spTree>
    <p:extLst>
      <p:ext uri="{BB962C8B-B14F-4D97-AF65-F5344CB8AC3E}">
        <p14:creationId xmlns:p14="http://schemas.microsoft.com/office/powerpoint/2010/main" val="25887775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ido 1">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0D8AA0FF-3F0F-3DD1-F00C-3030A1EF4391}"/>
              </a:ext>
            </a:extLst>
          </p:cNvPr>
          <p:cNvPicPr>
            <a:picLocks noChangeAspect="1"/>
          </p:cNvPicPr>
          <p:nvPr userDrawn="1"/>
        </p:nvPicPr>
        <p:blipFill>
          <a:blip r:embed="rId2"/>
          <a:srcRect l="20866" r="20866"/>
          <a:stretch/>
        </p:blipFill>
        <p:spPr>
          <a:xfrm>
            <a:off x="0" y="0"/>
            <a:ext cx="5988050" cy="6858000"/>
          </a:xfrm>
          <a:prstGeom prst="rect">
            <a:avLst/>
          </a:prstGeom>
        </p:spPr>
      </p:pic>
      <p:sp>
        <p:nvSpPr>
          <p:cNvPr id="6" name="Rectángulo 5">
            <a:extLst>
              <a:ext uri="{FF2B5EF4-FFF2-40B4-BE49-F238E27FC236}">
                <a16:creationId xmlns:a16="http://schemas.microsoft.com/office/drawing/2014/main" id="{728116FF-A60F-1DCE-7464-1F9666FBFF6C}"/>
              </a:ext>
            </a:extLst>
          </p:cNvPr>
          <p:cNvSpPr/>
          <p:nvPr userDrawn="1"/>
        </p:nvSpPr>
        <p:spPr>
          <a:xfrm>
            <a:off x="10965051" y="0"/>
            <a:ext cx="1226949" cy="12011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6203949" y="1444370"/>
            <a:ext cx="5688013" cy="1266983"/>
          </a:xfrm>
        </p:spPr>
        <p:txBody>
          <a:bodyPr anchor="b">
            <a:normAutofit/>
          </a:bodyPr>
          <a:lstStyle>
            <a:lvl1pPr algn="l">
              <a:defRPr sz="3600" b="0" i="0">
                <a:solidFill>
                  <a:srgbClr val="1E1D26"/>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6203949" y="2740642"/>
            <a:ext cx="5688013"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6203949" y="3556000"/>
            <a:ext cx="5688013" cy="2046637"/>
          </a:xfrm>
        </p:spPr>
        <p:txBody>
          <a:bodyPr>
            <a:normAutofit/>
          </a:bodyPr>
          <a:lstStyle>
            <a:lvl1pPr marL="0" indent="0">
              <a:buNone/>
              <a:defRPr sz="1400" b="0" i="0">
                <a:solidFill>
                  <a:srgbClr val="1E1D26"/>
                </a:solidFill>
                <a:latin typeface="Montserrat" pitchFamily="2" charset="77"/>
              </a:defRPr>
            </a:lvl1pPr>
            <a:lvl2pPr marL="457200" indent="0">
              <a:buNone/>
              <a:defRPr sz="1200" b="0" i="0">
                <a:solidFill>
                  <a:srgbClr val="1E1D26"/>
                </a:solidFill>
                <a:latin typeface="Montserrat" pitchFamily="2" charset="77"/>
              </a:defRPr>
            </a:lvl2pPr>
            <a:lvl3pPr marL="914400" indent="0">
              <a:buNone/>
              <a:defRPr sz="1100" b="0" i="0">
                <a:solidFill>
                  <a:srgbClr val="1E1D26"/>
                </a:solidFill>
                <a:latin typeface="Montserrat" pitchFamily="2" charset="77"/>
              </a:defRPr>
            </a:lvl3pPr>
            <a:lvl4pPr marL="1371600" indent="0">
              <a:buNone/>
              <a:defRPr sz="1050" b="0" i="0">
                <a:solidFill>
                  <a:srgbClr val="1E1D26"/>
                </a:solidFill>
                <a:latin typeface="Montserrat" pitchFamily="2" charset="77"/>
              </a:defRPr>
            </a:lvl4pPr>
            <a:lvl5pPr marL="1828800" indent="0">
              <a:buNone/>
              <a:defRPr sz="1050" b="0" i="0">
                <a:solidFill>
                  <a:srgbClr val="1E1D26"/>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4" name="Rectángulo 3">
            <a:extLst>
              <a:ext uri="{FF2B5EF4-FFF2-40B4-BE49-F238E27FC236}">
                <a16:creationId xmlns:a16="http://schemas.microsoft.com/office/drawing/2014/main" id="{D9431462-74B8-53DB-5148-E85F5ADE787B}"/>
              </a:ext>
            </a:extLst>
          </p:cNvPr>
          <p:cNvSpPr/>
          <p:nvPr userDrawn="1"/>
        </p:nvSpPr>
        <p:spPr>
          <a:xfrm>
            <a:off x="0" y="5953760"/>
            <a:ext cx="904240" cy="9042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7" name="Imagen 6">
            <a:extLst>
              <a:ext uri="{FF2B5EF4-FFF2-40B4-BE49-F238E27FC236}">
                <a16:creationId xmlns:a16="http://schemas.microsoft.com/office/drawing/2014/main" id="{6B21D03F-7C38-9B63-F87F-DA26764E0682}"/>
              </a:ext>
            </a:extLst>
          </p:cNvPr>
          <p:cNvPicPr>
            <a:picLocks noChangeAspect="1"/>
          </p:cNvPicPr>
          <p:nvPr userDrawn="1"/>
        </p:nvPicPr>
        <p:blipFill>
          <a:blip r:embed="rId3"/>
          <a:srcRect/>
          <a:stretch/>
        </p:blipFill>
        <p:spPr>
          <a:xfrm>
            <a:off x="8204295" y="322683"/>
            <a:ext cx="3625882" cy="836292"/>
          </a:xfrm>
          <a:prstGeom prst="rect">
            <a:avLst/>
          </a:prstGeom>
        </p:spPr>
      </p:pic>
    </p:spTree>
    <p:extLst>
      <p:ext uri="{BB962C8B-B14F-4D97-AF65-F5344CB8AC3E}">
        <p14:creationId xmlns:p14="http://schemas.microsoft.com/office/powerpoint/2010/main" val="7091040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ido 1">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389FD394-7006-ECDA-374F-FA4EB90CF348}"/>
              </a:ext>
            </a:extLst>
          </p:cNvPr>
          <p:cNvPicPr>
            <a:picLocks noChangeAspect="1"/>
          </p:cNvPicPr>
          <p:nvPr userDrawn="1"/>
        </p:nvPicPr>
        <p:blipFill rotWithShape="1">
          <a:blip r:embed="rId2"/>
          <a:srcRect t="23425" b="34429"/>
          <a:stretch/>
        </p:blipFill>
        <p:spPr>
          <a:xfrm>
            <a:off x="0" y="3429001"/>
            <a:ext cx="12192000" cy="3429000"/>
          </a:xfrm>
          <a:prstGeom prst="rect">
            <a:avLst/>
          </a:prstGeom>
        </p:spPr>
      </p:pic>
      <p:sp>
        <p:nvSpPr>
          <p:cNvPr id="6" name="Rectángulo 5">
            <a:extLst>
              <a:ext uri="{FF2B5EF4-FFF2-40B4-BE49-F238E27FC236}">
                <a16:creationId xmlns:a16="http://schemas.microsoft.com/office/drawing/2014/main" id="{006D371D-59D2-4ABE-A95B-63FDDD68482E}"/>
              </a:ext>
            </a:extLst>
          </p:cNvPr>
          <p:cNvSpPr/>
          <p:nvPr userDrawn="1"/>
        </p:nvSpPr>
        <p:spPr>
          <a:xfrm>
            <a:off x="10965051" y="0"/>
            <a:ext cx="1226949" cy="12011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300037" y="692150"/>
            <a:ext cx="5688013" cy="1266983"/>
          </a:xfrm>
        </p:spPr>
        <p:txBody>
          <a:bodyPr anchor="b">
            <a:normAutofit/>
          </a:bodyPr>
          <a:lstStyle>
            <a:lvl1pPr algn="l">
              <a:defRPr sz="3600" b="0" i="0">
                <a:solidFill>
                  <a:srgbClr val="1E1D26"/>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300037" y="1988422"/>
            <a:ext cx="5688013" cy="1142236"/>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6203953" y="1959133"/>
            <a:ext cx="5688010" cy="1117280"/>
          </a:xfrm>
        </p:spPr>
        <p:txBody>
          <a:bodyPr>
            <a:normAutofit/>
          </a:bodyPr>
          <a:lstStyle>
            <a:lvl1pPr marL="0" indent="0">
              <a:buNone/>
              <a:defRPr sz="1400" b="0" i="0">
                <a:solidFill>
                  <a:srgbClr val="1E1D26"/>
                </a:solidFill>
                <a:latin typeface="Montserrat" pitchFamily="2" charset="77"/>
              </a:defRPr>
            </a:lvl1pPr>
            <a:lvl2pPr marL="457200" indent="0">
              <a:buNone/>
              <a:defRPr sz="1200" b="0" i="0">
                <a:solidFill>
                  <a:srgbClr val="1E1D26"/>
                </a:solidFill>
                <a:latin typeface="Montserrat" pitchFamily="2" charset="77"/>
              </a:defRPr>
            </a:lvl2pPr>
            <a:lvl3pPr marL="914400" indent="0">
              <a:buNone/>
              <a:defRPr sz="1100" b="0" i="0">
                <a:solidFill>
                  <a:srgbClr val="1E1D26"/>
                </a:solidFill>
                <a:latin typeface="Montserrat" pitchFamily="2" charset="77"/>
              </a:defRPr>
            </a:lvl3pPr>
            <a:lvl4pPr marL="1371600" indent="0">
              <a:buNone/>
              <a:defRPr sz="1050" b="0" i="0">
                <a:solidFill>
                  <a:srgbClr val="1E1D26"/>
                </a:solidFill>
                <a:latin typeface="Montserrat" pitchFamily="2" charset="77"/>
              </a:defRPr>
            </a:lvl4pPr>
            <a:lvl5pPr marL="1828800" indent="0">
              <a:buNone/>
              <a:defRPr sz="1050" b="0" i="0">
                <a:solidFill>
                  <a:srgbClr val="1E1D26"/>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4" name="Rectángulo 3">
            <a:extLst>
              <a:ext uri="{FF2B5EF4-FFF2-40B4-BE49-F238E27FC236}">
                <a16:creationId xmlns:a16="http://schemas.microsoft.com/office/drawing/2014/main" id="{D9431462-74B8-53DB-5148-E85F5ADE787B}"/>
              </a:ext>
            </a:extLst>
          </p:cNvPr>
          <p:cNvSpPr/>
          <p:nvPr userDrawn="1"/>
        </p:nvSpPr>
        <p:spPr>
          <a:xfrm>
            <a:off x="0" y="5953760"/>
            <a:ext cx="904240" cy="9042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7" name="Imagen 6">
            <a:extLst>
              <a:ext uri="{FF2B5EF4-FFF2-40B4-BE49-F238E27FC236}">
                <a16:creationId xmlns:a16="http://schemas.microsoft.com/office/drawing/2014/main" id="{47B3FC8B-60CF-1A6F-EF68-B84934CC002D}"/>
              </a:ext>
            </a:extLst>
          </p:cNvPr>
          <p:cNvPicPr>
            <a:picLocks noChangeAspect="1"/>
          </p:cNvPicPr>
          <p:nvPr userDrawn="1"/>
        </p:nvPicPr>
        <p:blipFill>
          <a:blip r:embed="rId3"/>
          <a:srcRect/>
          <a:stretch/>
        </p:blipFill>
        <p:spPr>
          <a:xfrm>
            <a:off x="8204295" y="322683"/>
            <a:ext cx="3625882" cy="836292"/>
          </a:xfrm>
          <a:prstGeom prst="rect">
            <a:avLst/>
          </a:prstGeom>
        </p:spPr>
      </p:pic>
    </p:spTree>
    <p:extLst>
      <p:ext uri="{BB962C8B-B14F-4D97-AF65-F5344CB8AC3E}">
        <p14:creationId xmlns:p14="http://schemas.microsoft.com/office/powerpoint/2010/main" val="226214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300039" y="1444370"/>
            <a:ext cx="5688011" cy="1266983"/>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300039" y="2740642"/>
            <a:ext cx="5688011" cy="1655762"/>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11" name="Rectángulo 10">
            <a:extLst>
              <a:ext uri="{FF2B5EF4-FFF2-40B4-BE49-F238E27FC236}">
                <a16:creationId xmlns:a16="http://schemas.microsoft.com/office/drawing/2014/main" id="{1BB6289D-B75D-3B52-0840-5BCB542B6150}"/>
              </a:ext>
            </a:extLst>
          </p:cNvPr>
          <p:cNvSpPr/>
          <p:nvPr userDrawn="1"/>
        </p:nvSpPr>
        <p:spPr>
          <a:xfrm>
            <a:off x="1" y="5953760"/>
            <a:ext cx="904240" cy="9042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a:blip r:embed="rId2"/>
          <a:srcRect l="5692" r="5692"/>
          <a:stretch/>
        </p:blipFill>
        <p:spPr>
          <a:xfrm>
            <a:off x="6203952" y="1444371"/>
            <a:ext cx="5988048" cy="4509389"/>
          </a:xfrm>
          <a:prstGeom prst="rect">
            <a:avLst/>
          </a:prstGeom>
        </p:spPr>
      </p:pic>
      <p:pic>
        <p:nvPicPr>
          <p:cNvPr id="4" name="Imagen 3">
            <a:extLst>
              <a:ext uri="{FF2B5EF4-FFF2-40B4-BE49-F238E27FC236}">
                <a16:creationId xmlns:a16="http://schemas.microsoft.com/office/drawing/2014/main" id="{FB8FBEFB-4274-5AB6-2F9D-AB2AC6EABAA1}"/>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16670086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ido 2">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26E606CF-AEE5-1507-F833-B37017978DDB}"/>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sp>
        <p:nvSpPr>
          <p:cNvPr id="9" name="Marcador de contenido 8">
            <a:extLst>
              <a:ext uri="{FF2B5EF4-FFF2-40B4-BE49-F238E27FC236}">
                <a16:creationId xmlns:a16="http://schemas.microsoft.com/office/drawing/2014/main" id="{00377E83-4AED-C84D-D090-E305D70C06D5}"/>
              </a:ext>
            </a:extLst>
          </p:cNvPr>
          <p:cNvSpPr>
            <a:spLocks noGrp="1"/>
          </p:cNvSpPr>
          <p:nvPr>
            <p:ph sz="quarter" idx="10"/>
          </p:nvPr>
        </p:nvSpPr>
        <p:spPr>
          <a:xfrm>
            <a:off x="325438" y="692150"/>
            <a:ext cx="11566525" cy="5832475"/>
          </a:xfrm>
        </p:spPr>
        <p:txBody>
          <a:bodyPr>
            <a:normAutofit/>
          </a:bodyPr>
          <a:lstStyle>
            <a:lvl1pPr>
              <a:defRPr sz="1600"/>
            </a:lvl1pPr>
            <a:lvl2pPr>
              <a:defRPr sz="1400"/>
            </a:lvl2pPr>
            <a:lvl3pPr>
              <a:defRPr sz="1200"/>
            </a:lvl3pPr>
            <a:lvl4pPr>
              <a:defRPr sz="1100"/>
            </a:lvl4pPr>
            <a:lvl5pPr>
              <a:defRPr sz="1100"/>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pic>
        <p:nvPicPr>
          <p:cNvPr id="4" name="Imagen 3">
            <a:extLst>
              <a:ext uri="{FF2B5EF4-FFF2-40B4-BE49-F238E27FC236}">
                <a16:creationId xmlns:a16="http://schemas.microsoft.com/office/drawing/2014/main" id="{F42CB1CE-2FF8-DC5B-71FC-FCB3B9C8A4AB}"/>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32405663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ido 2">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Marcador de contenido 3">
            <a:extLst>
              <a:ext uri="{FF2B5EF4-FFF2-40B4-BE49-F238E27FC236}">
                <a16:creationId xmlns:a16="http://schemas.microsoft.com/office/drawing/2014/main" id="{D781B043-B489-695C-01A4-170F5BFAEA85}"/>
              </a:ext>
            </a:extLst>
          </p:cNvPr>
          <p:cNvSpPr>
            <a:spLocks noGrp="1"/>
          </p:cNvSpPr>
          <p:nvPr>
            <p:ph sz="quarter" idx="10"/>
          </p:nvPr>
        </p:nvSpPr>
        <p:spPr>
          <a:xfrm>
            <a:off x="325438" y="692149"/>
            <a:ext cx="5662612" cy="5832475"/>
          </a:xfrm>
        </p:spPr>
        <p:txBody>
          <a:bodyPr>
            <a:normAutofit/>
          </a:bodyPr>
          <a:lstStyle>
            <a:lvl1pPr>
              <a:defRPr sz="1600"/>
            </a:lvl1pPr>
            <a:lvl2pPr>
              <a:defRPr sz="1400"/>
            </a:lvl2pPr>
            <a:lvl3pPr>
              <a:defRPr sz="1200"/>
            </a:lvl3pPr>
            <a:lvl4pPr>
              <a:defRPr sz="1100"/>
            </a:lvl4pPr>
            <a:lvl5pPr>
              <a:defRPr sz="1100"/>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8" name="Marcador de contenido 7">
            <a:extLst>
              <a:ext uri="{FF2B5EF4-FFF2-40B4-BE49-F238E27FC236}">
                <a16:creationId xmlns:a16="http://schemas.microsoft.com/office/drawing/2014/main" id="{E25925AA-1FC5-7B54-6B7E-1A18802E4889}"/>
              </a:ext>
            </a:extLst>
          </p:cNvPr>
          <p:cNvSpPr>
            <a:spLocks noGrp="1"/>
          </p:cNvSpPr>
          <p:nvPr>
            <p:ph sz="quarter" idx="11"/>
          </p:nvPr>
        </p:nvSpPr>
        <p:spPr>
          <a:xfrm>
            <a:off x="6203950" y="692150"/>
            <a:ext cx="5688013" cy="5832474"/>
          </a:xfrm>
        </p:spPr>
        <p:txBody>
          <a:bodyPr>
            <a:normAutofit/>
          </a:bodyPr>
          <a:lstStyle>
            <a:lvl1pPr>
              <a:defRPr sz="1600"/>
            </a:lvl1pPr>
            <a:lvl2pPr>
              <a:defRPr sz="1400"/>
            </a:lvl2pPr>
            <a:lvl3pPr>
              <a:defRPr sz="1200"/>
            </a:lvl3pPr>
            <a:lvl4pPr>
              <a:defRPr sz="1100"/>
            </a:lvl4pPr>
            <a:lvl5pPr>
              <a:defRPr sz="1100"/>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3" name="Título 1">
            <a:extLst>
              <a:ext uri="{FF2B5EF4-FFF2-40B4-BE49-F238E27FC236}">
                <a16:creationId xmlns:a16="http://schemas.microsoft.com/office/drawing/2014/main" id="{F2E43965-9BA5-F52B-750A-3C6EA39CE938}"/>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5" name="Imagen 4">
            <a:extLst>
              <a:ext uri="{FF2B5EF4-FFF2-40B4-BE49-F238E27FC236}">
                <a16:creationId xmlns:a16="http://schemas.microsoft.com/office/drawing/2014/main" id="{24BC6D99-48A8-F5D6-AA7E-470D60D3877D}"/>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223584068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ido 2">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Marcador de contenido 3">
            <a:extLst>
              <a:ext uri="{FF2B5EF4-FFF2-40B4-BE49-F238E27FC236}">
                <a16:creationId xmlns:a16="http://schemas.microsoft.com/office/drawing/2014/main" id="{D781B043-B489-695C-01A4-170F5BFAEA85}"/>
              </a:ext>
            </a:extLst>
          </p:cNvPr>
          <p:cNvSpPr>
            <a:spLocks noGrp="1"/>
          </p:cNvSpPr>
          <p:nvPr>
            <p:ph sz="quarter" idx="10"/>
          </p:nvPr>
        </p:nvSpPr>
        <p:spPr>
          <a:xfrm>
            <a:off x="325438" y="692150"/>
            <a:ext cx="5662612" cy="2628900"/>
          </a:xfrm>
        </p:spPr>
        <p:txBody>
          <a:bodyPr>
            <a:normAutofit/>
          </a:bodyPr>
          <a:lstStyle>
            <a:lvl1pPr>
              <a:defRPr sz="1600"/>
            </a:lvl1pPr>
            <a:lvl2pPr>
              <a:defRPr sz="1400"/>
            </a:lvl2pPr>
            <a:lvl3pPr>
              <a:defRPr sz="1200"/>
            </a:lvl3pPr>
            <a:lvl4pPr>
              <a:defRPr sz="1100"/>
            </a:lvl4pPr>
            <a:lvl5pPr>
              <a:defRPr sz="11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8" name="Marcador de contenido 7">
            <a:extLst>
              <a:ext uri="{FF2B5EF4-FFF2-40B4-BE49-F238E27FC236}">
                <a16:creationId xmlns:a16="http://schemas.microsoft.com/office/drawing/2014/main" id="{E25925AA-1FC5-7B54-6B7E-1A18802E4889}"/>
              </a:ext>
            </a:extLst>
          </p:cNvPr>
          <p:cNvSpPr>
            <a:spLocks noGrp="1"/>
          </p:cNvSpPr>
          <p:nvPr>
            <p:ph sz="quarter" idx="11"/>
          </p:nvPr>
        </p:nvSpPr>
        <p:spPr>
          <a:xfrm>
            <a:off x="6203950" y="692150"/>
            <a:ext cx="5688013" cy="2628900"/>
          </a:xfrm>
        </p:spPr>
        <p:txBody>
          <a:bodyPr>
            <a:normAutofit/>
          </a:bodyPr>
          <a:lstStyle>
            <a:lvl1pPr>
              <a:defRPr sz="1600"/>
            </a:lvl1pPr>
            <a:lvl2pPr>
              <a:defRPr sz="1400"/>
            </a:lvl2pPr>
            <a:lvl3pPr>
              <a:defRPr sz="1200"/>
            </a:lvl3pPr>
            <a:lvl4pPr>
              <a:defRPr sz="1100"/>
            </a:lvl4pPr>
            <a:lvl5pPr>
              <a:defRPr sz="11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10" name="Marcador de contenido 9">
            <a:extLst>
              <a:ext uri="{FF2B5EF4-FFF2-40B4-BE49-F238E27FC236}">
                <a16:creationId xmlns:a16="http://schemas.microsoft.com/office/drawing/2014/main" id="{8B61C7A1-CFB1-5EEC-0ACB-2223B63DE9F6}"/>
              </a:ext>
            </a:extLst>
          </p:cNvPr>
          <p:cNvSpPr>
            <a:spLocks noGrp="1"/>
          </p:cNvSpPr>
          <p:nvPr>
            <p:ph sz="quarter" idx="12"/>
          </p:nvPr>
        </p:nvSpPr>
        <p:spPr>
          <a:xfrm>
            <a:off x="300038" y="3536950"/>
            <a:ext cx="5688012" cy="2987675"/>
          </a:xfrm>
        </p:spPr>
        <p:txBody>
          <a:bodyPr>
            <a:normAutofit/>
          </a:bodyPr>
          <a:lstStyle>
            <a:lvl1pPr>
              <a:defRPr sz="1600"/>
            </a:lvl1pPr>
            <a:lvl2pPr>
              <a:defRPr sz="1400"/>
            </a:lvl2pPr>
            <a:lvl3pPr>
              <a:defRPr sz="1200"/>
            </a:lvl3pPr>
            <a:lvl4pPr>
              <a:defRPr sz="1100"/>
            </a:lvl4pPr>
            <a:lvl5pPr>
              <a:defRPr sz="11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14" name="Marcador de contenido 13">
            <a:extLst>
              <a:ext uri="{FF2B5EF4-FFF2-40B4-BE49-F238E27FC236}">
                <a16:creationId xmlns:a16="http://schemas.microsoft.com/office/drawing/2014/main" id="{38685BBC-9C77-B69E-2DE3-D562C90747A1}"/>
              </a:ext>
            </a:extLst>
          </p:cNvPr>
          <p:cNvSpPr>
            <a:spLocks noGrp="1"/>
          </p:cNvSpPr>
          <p:nvPr>
            <p:ph sz="quarter" idx="13"/>
          </p:nvPr>
        </p:nvSpPr>
        <p:spPr>
          <a:xfrm>
            <a:off x="6203950" y="3536950"/>
            <a:ext cx="5688013" cy="2987675"/>
          </a:xfrm>
        </p:spPr>
        <p:txBody>
          <a:bodyPr>
            <a:normAutofit/>
          </a:bodyPr>
          <a:lstStyle>
            <a:lvl1pPr>
              <a:defRPr sz="1600"/>
            </a:lvl1pPr>
            <a:lvl2pPr>
              <a:defRPr sz="1400"/>
            </a:lvl2pPr>
            <a:lvl3pPr>
              <a:defRPr sz="1200"/>
            </a:lvl3pPr>
            <a:lvl4pPr>
              <a:defRPr sz="1100"/>
            </a:lvl4pPr>
            <a:lvl5pPr>
              <a:defRPr sz="11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3" name="Título 1">
            <a:extLst>
              <a:ext uri="{FF2B5EF4-FFF2-40B4-BE49-F238E27FC236}">
                <a16:creationId xmlns:a16="http://schemas.microsoft.com/office/drawing/2014/main" id="{A2A7B91E-099E-A85F-2D42-11237189D910}"/>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5" name="Imagen 4">
            <a:extLst>
              <a:ext uri="{FF2B5EF4-FFF2-40B4-BE49-F238E27FC236}">
                <a16:creationId xmlns:a16="http://schemas.microsoft.com/office/drawing/2014/main" id="{57AA82F4-E32D-37AB-0604-77FB29689AD2}"/>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319855016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ontenido 2">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Marcador de contenido 3">
            <a:extLst>
              <a:ext uri="{FF2B5EF4-FFF2-40B4-BE49-F238E27FC236}">
                <a16:creationId xmlns:a16="http://schemas.microsoft.com/office/drawing/2014/main" id="{D781B043-B489-695C-01A4-170F5BFAEA85}"/>
              </a:ext>
            </a:extLst>
          </p:cNvPr>
          <p:cNvSpPr>
            <a:spLocks noGrp="1"/>
          </p:cNvSpPr>
          <p:nvPr>
            <p:ph sz="quarter" idx="10"/>
          </p:nvPr>
        </p:nvSpPr>
        <p:spPr>
          <a:xfrm>
            <a:off x="325437" y="692150"/>
            <a:ext cx="11566525" cy="2628900"/>
          </a:xfrm>
        </p:spPr>
        <p:txBody>
          <a:bodyPr>
            <a:normAutofit/>
          </a:bodyPr>
          <a:lstStyle>
            <a:lvl1pPr>
              <a:defRPr sz="1600"/>
            </a:lvl1pPr>
            <a:lvl2pPr>
              <a:defRPr sz="1400"/>
            </a:lvl2pPr>
            <a:lvl3pPr>
              <a:defRPr sz="1200"/>
            </a:lvl3pPr>
            <a:lvl4pPr>
              <a:defRPr sz="1100"/>
            </a:lvl4pPr>
            <a:lvl5pPr>
              <a:defRPr sz="1100"/>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10" name="Marcador de contenido 9">
            <a:extLst>
              <a:ext uri="{FF2B5EF4-FFF2-40B4-BE49-F238E27FC236}">
                <a16:creationId xmlns:a16="http://schemas.microsoft.com/office/drawing/2014/main" id="{8B61C7A1-CFB1-5EEC-0ACB-2223B63DE9F6}"/>
              </a:ext>
            </a:extLst>
          </p:cNvPr>
          <p:cNvSpPr>
            <a:spLocks noGrp="1"/>
          </p:cNvSpPr>
          <p:nvPr>
            <p:ph sz="quarter" idx="12"/>
          </p:nvPr>
        </p:nvSpPr>
        <p:spPr>
          <a:xfrm>
            <a:off x="300038" y="3536950"/>
            <a:ext cx="5688012" cy="2987675"/>
          </a:xfrm>
        </p:spPr>
        <p:txBody>
          <a:bodyPr>
            <a:normAutofit/>
          </a:bodyPr>
          <a:lstStyle>
            <a:lvl1pPr>
              <a:defRPr sz="1600"/>
            </a:lvl1pPr>
            <a:lvl2pPr>
              <a:defRPr sz="1400"/>
            </a:lvl2pPr>
            <a:lvl3pPr>
              <a:defRPr sz="1200"/>
            </a:lvl3pPr>
            <a:lvl4pPr>
              <a:defRPr sz="1100"/>
            </a:lvl4pPr>
            <a:lvl5pPr>
              <a:defRPr sz="11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14" name="Marcador de contenido 13">
            <a:extLst>
              <a:ext uri="{FF2B5EF4-FFF2-40B4-BE49-F238E27FC236}">
                <a16:creationId xmlns:a16="http://schemas.microsoft.com/office/drawing/2014/main" id="{38685BBC-9C77-B69E-2DE3-D562C90747A1}"/>
              </a:ext>
            </a:extLst>
          </p:cNvPr>
          <p:cNvSpPr>
            <a:spLocks noGrp="1"/>
          </p:cNvSpPr>
          <p:nvPr>
            <p:ph sz="quarter" idx="13"/>
          </p:nvPr>
        </p:nvSpPr>
        <p:spPr>
          <a:xfrm>
            <a:off x="6203950" y="3536950"/>
            <a:ext cx="5688013" cy="2987675"/>
          </a:xfrm>
        </p:spPr>
        <p:txBody>
          <a:bodyPr>
            <a:normAutofit/>
          </a:bodyPr>
          <a:lstStyle>
            <a:lvl1pPr>
              <a:defRPr sz="1600"/>
            </a:lvl1pPr>
            <a:lvl2pPr>
              <a:defRPr sz="1400"/>
            </a:lvl2pPr>
            <a:lvl3pPr>
              <a:defRPr sz="1200"/>
            </a:lvl3pPr>
            <a:lvl4pPr>
              <a:defRPr sz="1100"/>
            </a:lvl4pPr>
            <a:lvl5pPr>
              <a:defRPr sz="1100"/>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3" name="Título 1">
            <a:extLst>
              <a:ext uri="{FF2B5EF4-FFF2-40B4-BE49-F238E27FC236}">
                <a16:creationId xmlns:a16="http://schemas.microsoft.com/office/drawing/2014/main" id="{C1C44843-86DE-E66D-A57A-012926350B14}"/>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5" name="Imagen 4">
            <a:extLst>
              <a:ext uri="{FF2B5EF4-FFF2-40B4-BE49-F238E27FC236}">
                <a16:creationId xmlns:a16="http://schemas.microsoft.com/office/drawing/2014/main" id="{93A5156F-203D-A6DC-D23C-67DFB6FD9D01}"/>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43614472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ontenido 2">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 name="Título 1">
            <a:extLst>
              <a:ext uri="{FF2B5EF4-FFF2-40B4-BE49-F238E27FC236}">
                <a16:creationId xmlns:a16="http://schemas.microsoft.com/office/drawing/2014/main" id="{EC029459-681E-7B33-50C6-3CD0D7794431}"/>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4" name="Imagen 3">
            <a:extLst>
              <a:ext uri="{FF2B5EF4-FFF2-40B4-BE49-F238E27FC236}">
                <a16:creationId xmlns:a16="http://schemas.microsoft.com/office/drawing/2014/main" id="{FBE9D792-DB6F-104E-C01A-75D589DF08CF}"/>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271710999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ido 3">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Marcador de contenido 8">
            <a:extLst>
              <a:ext uri="{FF2B5EF4-FFF2-40B4-BE49-F238E27FC236}">
                <a16:creationId xmlns:a16="http://schemas.microsoft.com/office/drawing/2014/main" id="{BBB0AFCA-7880-B521-966B-785FFDBBBB75}"/>
              </a:ext>
            </a:extLst>
          </p:cNvPr>
          <p:cNvSpPr>
            <a:spLocks noGrp="1"/>
          </p:cNvSpPr>
          <p:nvPr>
            <p:ph sz="quarter" idx="10"/>
          </p:nvPr>
        </p:nvSpPr>
        <p:spPr>
          <a:xfrm>
            <a:off x="300038" y="692150"/>
            <a:ext cx="11591925" cy="58324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Título 1">
            <a:extLst>
              <a:ext uri="{FF2B5EF4-FFF2-40B4-BE49-F238E27FC236}">
                <a16:creationId xmlns:a16="http://schemas.microsoft.com/office/drawing/2014/main" id="{813433D4-8AAB-3C3A-AC78-0EA9F9914FC8}"/>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5" name="Imagen 4">
            <a:extLst>
              <a:ext uri="{FF2B5EF4-FFF2-40B4-BE49-F238E27FC236}">
                <a16:creationId xmlns:a16="http://schemas.microsoft.com/office/drawing/2014/main" id="{5802EB69-DBF4-D19A-0FC1-55EA92AAC6B7}"/>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26655117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ontenido 3">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Marcador de contenido 8">
            <a:extLst>
              <a:ext uri="{FF2B5EF4-FFF2-40B4-BE49-F238E27FC236}">
                <a16:creationId xmlns:a16="http://schemas.microsoft.com/office/drawing/2014/main" id="{BBB0AFCA-7880-B521-966B-785FFDBBBB75}"/>
              </a:ext>
            </a:extLst>
          </p:cNvPr>
          <p:cNvSpPr>
            <a:spLocks noGrp="1"/>
          </p:cNvSpPr>
          <p:nvPr>
            <p:ph sz="quarter" idx="10"/>
          </p:nvPr>
        </p:nvSpPr>
        <p:spPr>
          <a:xfrm>
            <a:off x="300039" y="692151"/>
            <a:ext cx="5688012" cy="5832474"/>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5" name="Marcador de contenido 4">
            <a:extLst>
              <a:ext uri="{FF2B5EF4-FFF2-40B4-BE49-F238E27FC236}">
                <a16:creationId xmlns:a16="http://schemas.microsoft.com/office/drawing/2014/main" id="{718515BF-4264-572E-0DA0-350ED3E15958}"/>
              </a:ext>
            </a:extLst>
          </p:cNvPr>
          <p:cNvSpPr>
            <a:spLocks noGrp="1"/>
          </p:cNvSpPr>
          <p:nvPr>
            <p:ph sz="quarter" idx="11"/>
          </p:nvPr>
        </p:nvSpPr>
        <p:spPr>
          <a:xfrm>
            <a:off x="6203950" y="692150"/>
            <a:ext cx="5688013" cy="5832474"/>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Título 1">
            <a:extLst>
              <a:ext uri="{FF2B5EF4-FFF2-40B4-BE49-F238E27FC236}">
                <a16:creationId xmlns:a16="http://schemas.microsoft.com/office/drawing/2014/main" id="{EC09C06E-43B8-E3CA-FEBD-BBD3F94D445D}"/>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8" name="Imagen 7">
            <a:extLst>
              <a:ext uri="{FF2B5EF4-FFF2-40B4-BE49-F238E27FC236}">
                <a16:creationId xmlns:a16="http://schemas.microsoft.com/office/drawing/2014/main" id="{8DE641B1-645E-38D9-C912-89A94863BF25}"/>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32804091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ntenido 3">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Marcador de contenido 8">
            <a:extLst>
              <a:ext uri="{FF2B5EF4-FFF2-40B4-BE49-F238E27FC236}">
                <a16:creationId xmlns:a16="http://schemas.microsoft.com/office/drawing/2014/main" id="{BBB0AFCA-7880-B521-966B-785FFDBBBB75}"/>
              </a:ext>
            </a:extLst>
          </p:cNvPr>
          <p:cNvSpPr>
            <a:spLocks noGrp="1"/>
          </p:cNvSpPr>
          <p:nvPr>
            <p:ph sz="quarter" idx="10"/>
          </p:nvPr>
        </p:nvSpPr>
        <p:spPr>
          <a:xfrm>
            <a:off x="300039" y="692151"/>
            <a:ext cx="5688012" cy="2628900"/>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5" name="Marcador de contenido 4">
            <a:extLst>
              <a:ext uri="{FF2B5EF4-FFF2-40B4-BE49-F238E27FC236}">
                <a16:creationId xmlns:a16="http://schemas.microsoft.com/office/drawing/2014/main" id="{718515BF-4264-572E-0DA0-350ED3E15958}"/>
              </a:ext>
            </a:extLst>
          </p:cNvPr>
          <p:cNvSpPr>
            <a:spLocks noGrp="1"/>
          </p:cNvSpPr>
          <p:nvPr>
            <p:ph sz="quarter" idx="11"/>
          </p:nvPr>
        </p:nvSpPr>
        <p:spPr>
          <a:xfrm>
            <a:off x="6203950" y="692150"/>
            <a:ext cx="5688013" cy="2628900"/>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10" name="Marcador de contenido 9">
            <a:extLst>
              <a:ext uri="{FF2B5EF4-FFF2-40B4-BE49-F238E27FC236}">
                <a16:creationId xmlns:a16="http://schemas.microsoft.com/office/drawing/2014/main" id="{01592476-3622-58AF-C898-CC898EF35E86}"/>
              </a:ext>
            </a:extLst>
          </p:cNvPr>
          <p:cNvSpPr>
            <a:spLocks noGrp="1"/>
          </p:cNvSpPr>
          <p:nvPr>
            <p:ph sz="quarter" idx="12"/>
          </p:nvPr>
        </p:nvSpPr>
        <p:spPr>
          <a:xfrm>
            <a:off x="325438" y="3536950"/>
            <a:ext cx="5662612" cy="29876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12" name="Marcador de contenido 11">
            <a:extLst>
              <a:ext uri="{FF2B5EF4-FFF2-40B4-BE49-F238E27FC236}">
                <a16:creationId xmlns:a16="http://schemas.microsoft.com/office/drawing/2014/main" id="{97AB45E1-26D5-81CB-33D1-69898B4BBC77}"/>
              </a:ext>
            </a:extLst>
          </p:cNvPr>
          <p:cNvSpPr>
            <a:spLocks noGrp="1"/>
          </p:cNvSpPr>
          <p:nvPr>
            <p:ph sz="quarter" idx="13"/>
          </p:nvPr>
        </p:nvSpPr>
        <p:spPr>
          <a:xfrm>
            <a:off x="6203950" y="3536950"/>
            <a:ext cx="5688013" cy="29876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Título 1">
            <a:extLst>
              <a:ext uri="{FF2B5EF4-FFF2-40B4-BE49-F238E27FC236}">
                <a16:creationId xmlns:a16="http://schemas.microsoft.com/office/drawing/2014/main" id="{9609FCAA-4A90-89F8-9AB3-FA8EE9B29AB4}"/>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8" name="Imagen 7">
            <a:extLst>
              <a:ext uri="{FF2B5EF4-FFF2-40B4-BE49-F238E27FC236}">
                <a16:creationId xmlns:a16="http://schemas.microsoft.com/office/drawing/2014/main" id="{4A0F7336-FE91-9EF5-23B7-10A9E3669F66}"/>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13253500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ontenido 3">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Marcador de contenido 4">
            <a:extLst>
              <a:ext uri="{FF2B5EF4-FFF2-40B4-BE49-F238E27FC236}">
                <a16:creationId xmlns:a16="http://schemas.microsoft.com/office/drawing/2014/main" id="{718515BF-4264-572E-0DA0-350ED3E15958}"/>
              </a:ext>
            </a:extLst>
          </p:cNvPr>
          <p:cNvSpPr>
            <a:spLocks noGrp="1"/>
          </p:cNvSpPr>
          <p:nvPr>
            <p:ph sz="quarter" idx="11"/>
          </p:nvPr>
        </p:nvSpPr>
        <p:spPr>
          <a:xfrm>
            <a:off x="300038" y="692150"/>
            <a:ext cx="11591925" cy="2628900"/>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10" name="Marcador de contenido 9">
            <a:extLst>
              <a:ext uri="{FF2B5EF4-FFF2-40B4-BE49-F238E27FC236}">
                <a16:creationId xmlns:a16="http://schemas.microsoft.com/office/drawing/2014/main" id="{01592476-3622-58AF-C898-CC898EF35E86}"/>
              </a:ext>
            </a:extLst>
          </p:cNvPr>
          <p:cNvSpPr>
            <a:spLocks noGrp="1"/>
          </p:cNvSpPr>
          <p:nvPr>
            <p:ph sz="quarter" idx="12"/>
          </p:nvPr>
        </p:nvSpPr>
        <p:spPr>
          <a:xfrm>
            <a:off x="325438" y="3536950"/>
            <a:ext cx="5662612" cy="29876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12" name="Marcador de contenido 11">
            <a:extLst>
              <a:ext uri="{FF2B5EF4-FFF2-40B4-BE49-F238E27FC236}">
                <a16:creationId xmlns:a16="http://schemas.microsoft.com/office/drawing/2014/main" id="{97AB45E1-26D5-81CB-33D1-69898B4BBC77}"/>
              </a:ext>
            </a:extLst>
          </p:cNvPr>
          <p:cNvSpPr>
            <a:spLocks noGrp="1"/>
          </p:cNvSpPr>
          <p:nvPr>
            <p:ph sz="quarter" idx="13"/>
          </p:nvPr>
        </p:nvSpPr>
        <p:spPr>
          <a:xfrm>
            <a:off x="6203950" y="3536950"/>
            <a:ext cx="5688013" cy="29876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Título 1">
            <a:extLst>
              <a:ext uri="{FF2B5EF4-FFF2-40B4-BE49-F238E27FC236}">
                <a16:creationId xmlns:a16="http://schemas.microsoft.com/office/drawing/2014/main" id="{CE7C2FB8-C41E-9FEA-DF80-7435E6A9A5F6}"/>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8" name="Imagen 7">
            <a:extLst>
              <a:ext uri="{FF2B5EF4-FFF2-40B4-BE49-F238E27FC236}">
                <a16:creationId xmlns:a16="http://schemas.microsoft.com/office/drawing/2014/main" id="{8C546636-8B9D-9381-B80E-81BE5653952B}"/>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5685628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ido 3">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Título 1">
            <a:extLst>
              <a:ext uri="{FF2B5EF4-FFF2-40B4-BE49-F238E27FC236}">
                <a16:creationId xmlns:a16="http://schemas.microsoft.com/office/drawing/2014/main" id="{CFF79E68-B2C2-C28E-F666-00066E217E5F}"/>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5" name="Imagen 4">
            <a:extLst>
              <a:ext uri="{FF2B5EF4-FFF2-40B4-BE49-F238E27FC236}">
                <a16:creationId xmlns:a16="http://schemas.microsoft.com/office/drawing/2014/main" id="{CC107132-DF4C-E65D-057B-4984672A338D}"/>
              </a:ext>
            </a:extLst>
          </p:cNvPr>
          <p:cNvPicPr>
            <a:picLocks noChangeAspect="1"/>
          </p:cNvPicPr>
          <p:nvPr userDrawn="1"/>
        </p:nvPicPr>
        <p:blipFill>
          <a:blip r:embed="rId2"/>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1281939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Diapositiva de título 3">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6367394" y="1444370"/>
            <a:ext cx="5191759" cy="1266983"/>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6367394" y="2740642"/>
            <a:ext cx="5191759" cy="1655762"/>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a:blip r:embed="rId2"/>
          <a:srcRect l="20800" r="20800"/>
          <a:stretch/>
        </p:blipFill>
        <p:spPr>
          <a:xfrm>
            <a:off x="-2" y="-4450"/>
            <a:ext cx="6005573" cy="6862450"/>
          </a:xfrm>
          <a:prstGeom prst="rect">
            <a:avLst/>
          </a:prstGeom>
        </p:spPr>
      </p:pic>
      <p:sp>
        <p:nvSpPr>
          <p:cNvPr id="11" name="Rectángulo 10">
            <a:extLst>
              <a:ext uri="{FF2B5EF4-FFF2-40B4-BE49-F238E27FC236}">
                <a16:creationId xmlns:a16="http://schemas.microsoft.com/office/drawing/2014/main" id="{1BB6289D-B75D-3B52-0840-5BCB542B6150}"/>
              </a:ext>
            </a:extLst>
          </p:cNvPr>
          <p:cNvSpPr/>
          <p:nvPr userDrawn="1"/>
        </p:nvSpPr>
        <p:spPr>
          <a:xfrm>
            <a:off x="0" y="5953760"/>
            <a:ext cx="904240" cy="9042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4" name="Imagen 3">
            <a:extLst>
              <a:ext uri="{FF2B5EF4-FFF2-40B4-BE49-F238E27FC236}">
                <a16:creationId xmlns:a16="http://schemas.microsoft.com/office/drawing/2014/main" id="{C843C54B-A323-1BD5-0386-2EA3776DC1CE}"/>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21541804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ido 4">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Marcador de contenido 4">
            <a:extLst>
              <a:ext uri="{FF2B5EF4-FFF2-40B4-BE49-F238E27FC236}">
                <a16:creationId xmlns:a16="http://schemas.microsoft.com/office/drawing/2014/main" id="{582F2F73-80D4-BDB4-395E-33200ACAAAF2}"/>
              </a:ext>
            </a:extLst>
          </p:cNvPr>
          <p:cNvSpPr>
            <a:spLocks noGrp="1"/>
          </p:cNvSpPr>
          <p:nvPr>
            <p:ph sz="quarter" idx="10"/>
          </p:nvPr>
        </p:nvSpPr>
        <p:spPr>
          <a:xfrm>
            <a:off x="325438" y="692150"/>
            <a:ext cx="11566525" cy="58324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Título 1">
            <a:extLst>
              <a:ext uri="{FF2B5EF4-FFF2-40B4-BE49-F238E27FC236}">
                <a16:creationId xmlns:a16="http://schemas.microsoft.com/office/drawing/2014/main" id="{DC67DF14-DBA2-B63E-B4A5-7A59A13089C0}"/>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8" name="Imagen 7">
            <a:extLst>
              <a:ext uri="{FF2B5EF4-FFF2-40B4-BE49-F238E27FC236}">
                <a16:creationId xmlns:a16="http://schemas.microsoft.com/office/drawing/2014/main" id="{8744F63E-F804-160A-4F20-EC6A9F1BAA90}"/>
              </a:ext>
            </a:extLst>
          </p:cNvPr>
          <p:cNvPicPr>
            <a:picLocks noChangeAspect="1"/>
          </p:cNvPicPr>
          <p:nvPr userDrawn="1"/>
        </p:nvPicPr>
        <p:blipFill>
          <a:blip r:embed="rId2"/>
          <a:srcRect/>
          <a:stretch/>
        </p:blipFill>
        <p:spPr>
          <a:xfrm>
            <a:off x="10897549" y="62235"/>
            <a:ext cx="1062033" cy="374066"/>
          </a:xfrm>
          <a:prstGeom prst="rect">
            <a:avLst/>
          </a:prstGeom>
        </p:spPr>
      </p:pic>
    </p:spTree>
    <p:extLst>
      <p:ext uri="{BB962C8B-B14F-4D97-AF65-F5344CB8AC3E}">
        <p14:creationId xmlns:p14="http://schemas.microsoft.com/office/powerpoint/2010/main" val="8394200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ido 4">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Marcador de contenido 4">
            <a:extLst>
              <a:ext uri="{FF2B5EF4-FFF2-40B4-BE49-F238E27FC236}">
                <a16:creationId xmlns:a16="http://schemas.microsoft.com/office/drawing/2014/main" id="{582F2F73-80D4-BDB4-395E-33200ACAAAF2}"/>
              </a:ext>
            </a:extLst>
          </p:cNvPr>
          <p:cNvSpPr>
            <a:spLocks noGrp="1"/>
          </p:cNvSpPr>
          <p:nvPr>
            <p:ph sz="quarter" idx="10"/>
          </p:nvPr>
        </p:nvSpPr>
        <p:spPr>
          <a:xfrm>
            <a:off x="325439" y="692150"/>
            <a:ext cx="5662612" cy="58324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8" name="Marcador de contenido 7">
            <a:extLst>
              <a:ext uri="{FF2B5EF4-FFF2-40B4-BE49-F238E27FC236}">
                <a16:creationId xmlns:a16="http://schemas.microsoft.com/office/drawing/2014/main" id="{5F5F9884-5F0F-C804-CF13-0BFA48270E18}"/>
              </a:ext>
            </a:extLst>
          </p:cNvPr>
          <p:cNvSpPr>
            <a:spLocks noGrp="1"/>
          </p:cNvSpPr>
          <p:nvPr>
            <p:ph sz="quarter" idx="11"/>
          </p:nvPr>
        </p:nvSpPr>
        <p:spPr>
          <a:xfrm>
            <a:off x="6203950" y="692150"/>
            <a:ext cx="5688013" cy="58324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Título 1">
            <a:extLst>
              <a:ext uri="{FF2B5EF4-FFF2-40B4-BE49-F238E27FC236}">
                <a16:creationId xmlns:a16="http://schemas.microsoft.com/office/drawing/2014/main" id="{969B25F0-3313-C5EF-FF66-7612EB6C5E58}"/>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9" name="Imagen 8">
            <a:extLst>
              <a:ext uri="{FF2B5EF4-FFF2-40B4-BE49-F238E27FC236}">
                <a16:creationId xmlns:a16="http://schemas.microsoft.com/office/drawing/2014/main" id="{36742C82-2EEC-CD42-DC13-48331C87C250}"/>
              </a:ext>
            </a:extLst>
          </p:cNvPr>
          <p:cNvPicPr>
            <a:picLocks noChangeAspect="1"/>
          </p:cNvPicPr>
          <p:nvPr userDrawn="1"/>
        </p:nvPicPr>
        <p:blipFill>
          <a:blip r:embed="rId2"/>
          <a:srcRect/>
          <a:stretch/>
        </p:blipFill>
        <p:spPr>
          <a:xfrm>
            <a:off x="10897549" y="62235"/>
            <a:ext cx="1062033" cy="374066"/>
          </a:xfrm>
          <a:prstGeom prst="rect">
            <a:avLst/>
          </a:prstGeom>
        </p:spPr>
      </p:pic>
    </p:spTree>
    <p:extLst>
      <p:ext uri="{BB962C8B-B14F-4D97-AF65-F5344CB8AC3E}">
        <p14:creationId xmlns:p14="http://schemas.microsoft.com/office/powerpoint/2010/main" val="23963582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ontenido 4">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Marcador de contenido 4">
            <a:extLst>
              <a:ext uri="{FF2B5EF4-FFF2-40B4-BE49-F238E27FC236}">
                <a16:creationId xmlns:a16="http://schemas.microsoft.com/office/drawing/2014/main" id="{582F2F73-80D4-BDB4-395E-33200ACAAAF2}"/>
              </a:ext>
            </a:extLst>
          </p:cNvPr>
          <p:cNvSpPr>
            <a:spLocks noGrp="1"/>
          </p:cNvSpPr>
          <p:nvPr>
            <p:ph sz="quarter" idx="10"/>
          </p:nvPr>
        </p:nvSpPr>
        <p:spPr>
          <a:xfrm>
            <a:off x="325439" y="692151"/>
            <a:ext cx="5662612" cy="2628900"/>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8" name="Marcador de contenido 7">
            <a:extLst>
              <a:ext uri="{FF2B5EF4-FFF2-40B4-BE49-F238E27FC236}">
                <a16:creationId xmlns:a16="http://schemas.microsoft.com/office/drawing/2014/main" id="{5F5F9884-5F0F-C804-CF13-0BFA48270E18}"/>
              </a:ext>
            </a:extLst>
          </p:cNvPr>
          <p:cNvSpPr>
            <a:spLocks noGrp="1"/>
          </p:cNvSpPr>
          <p:nvPr>
            <p:ph sz="quarter" idx="11"/>
          </p:nvPr>
        </p:nvSpPr>
        <p:spPr>
          <a:xfrm>
            <a:off x="6203950" y="692151"/>
            <a:ext cx="5688013" cy="2628900"/>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9" name="Marcador de contenido 8">
            <a:extLst>
              <a:ext uri="{FF2B5EF4-FFF2-40B4-BE49-F238E27FC236}">
                <a16:creationId xmlns:a16="http://schemas.microsoft.com/office/drawing/2014/main" id="{B5AB9C99-1963-7B04-E7E9-5273004ACF0D}"/>
              </a:ext>
            </a:extLst>
          </p:cNvPr>
          <p:cNvSpPr>
            <a:spLocks noGrp="1"/>
          </p:cNvSpPr>
          <p:nvPr>
            <p:ph sz="quarter" idx="12"/>
          </p:nvPr>
        </p:nvSpPr>
        <p:spPr>
          <a:xfrm>
            <a:off x="325438" y="3536950"/>
            <a:ext cx="5662612" cy="29876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11" name="Marcador de contenido 10">
            <a:extLst>
              <a:ext uri="{FF2B5EF4-FFF2-40B4-BE49-F238E27FC236}">
                <a16:creationId xmlns:a16="http://schemas.microsoft.com/office/drawing/2014/main" id="{8228EF02-4E58-C3E3-3C77-D44CD105355B}"/>
              </a:ext>
            </a:extLst>
          </p:cNvPr>
          <p:cNvSpPr>
            <a:spLocks noGrp="1"/>
          </p:cNvSpPr>
          <p:nvPr>
            <p:ph sz="quarter" idx="13"/>
          </p:nvPr>
        </p:nvSpPr>
        <p:spPr>
          <a:xfrm>
            <a:off x="6203950" y="3536950"/>
            <a:ext cx="5688013" cy="29876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Título 1">
            <a:extLst>
              <a:ext uri="{FF2B5EF4-FFF2-40B4-BE49-F238E27FC236}">
                <a16:creationId xmlns:a16="http://schemas.microsoft.com/office/drawing/2014/main" id="{38303F23-DAC6-F72C-985D-5B3324F42CA2}"/>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10" name="Imagen 9">
            <a:extLst>
              <a:ext uri="{FF2B5EF4-FFF2-40B4-BE49-F238E27FC236}">
                <a16:creationId xmlns:a16="http://schemas.microsoft.com/office/drawing/2014/main" id="{48A558F8-32A8-BF13-5738-D5AB37213F1A}"/>
              </a:ext>
            </a:extLst>
          </p:cNvPr>
          <p:cNvPicPr>
            <a:picLocks noChangeAspect="1"/>
          </p:cNvPicPr>
          <p:nvPr userDrawn="1"/>
        </p:nvPicPr>
        <p:blipFill>
          <a:blip r:embed="rId2"/>
          <a:srcRect/>
          <a:stretch/>
        </p:blipFill>
        <p:spPr>
          <a:xfrm>
            <a:off x="10897549" y="62235"/>
            <a:ext cx="1062033" cy="374066"/>
          </a:xfrm>
          <a:prstGeom prst="rect">
            <a:avLst/>
          </a:prstGeom>
        </p:spPr>
      </p:pic>
    </p:spTree>
    <p:extLst>
      <p:ext uri="{BB962C8B-B14F-4D97-AF65-F5344CB8AC3E}">
        <p14:creationId xmlns:p14="http://schemas.microsoft.com/office/powerpoint/2010/main" val="35059896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ontenido 4">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Marcador de contenido 4">
            <a:extLst>
              <a:ext uri="{FF2B5EF4-FFF2-40B4-BE49-F238E27FC236}">
                <a16:creationId xmlns:a16="http://schemas.microsoft.com/office/drawing/2014/main" id="{582F2F73-80D4-BDB4-395E-33200ACAAAF2}"/>
              </a:ext>
            </a:extLst>
          </p:cNvPr>
          <p:cNvSpPr>
            <a:spLocks noGrp="1"/>
          </p:cNvSpPr>
          <p:nvPr>
            <p:ph sz="quarter" idx="10"/>
          </p:nvPr>
        </p:nvSpPr>
        <p:spPr>
          <a:xfrm>
            <a:off x="325439" y="692151"/>
            <a:ext cx="11566524" cy="2628900"/>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9" name="Marcador de contenido 8">
            <a:extLst>
              <a:ext uri="{FF2B5EF4-FFF2-40B4-BE49-F238E27FC236}">
                <a16:creationId xmlns:a16="http://schemas.microsoft.com/office/drawing/2014/main" id="{B5AB9C99-1963-7B04-E7E9-5273004ACF0D}"/>
              </a:ext>
            </a:extLst>
          </p:cNvPr>
          <p:cNvSpPr>
            <a:spLocks noGrp="1"/>
          </p:cNvSpPr>
          <p:nvPr>
            <p:ph sz="quarter" idx="12"/>
          </p:nvPr>
        </p:nvSpPr>
        <p:spPr>
          <a:xfrm>
            <a:off x="325438" y="3536950"/>
            <a:ext cx="5662612" cy="29876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11" name="Marcador de contenido 10">
            <a:extLst>
              <a:ext uri="{FF2B5EF4-FFF2-40B4-BE49-F238E27FC236}">
                <a16:creationId xmlns:a16="http://schemas.microsoft.com/office/drawing/2014/main" id="{8228EF02-4E58-C3E3-3C77-D44CD105355B}"/>
              </a:ext>
            </a:extLst>
          </p:cNvPr>
          <p:cNvSpPr>
            <a:spLocks noGrp="1"/>
          </p:cNvSpPr>
          <p:nvPr>
            <p:ph sz="quarter" idx="13"/>
          </p:nvPr>
        </p:nvSpPr>
        <p:spPr>
          <a:xfrm>
            <a:off x="6203950" y="3536950"/>
            <a:ext cx="5688013" cy="2987675"/>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
        <p:nvSpPr>
          <p:cNvPr id="4" name="Título 1">
            <a:extLst>
              <a:ext uri="{FF2B5EF4-FFF2-40B4-BE49-F238E27FC236}">
                <a16:creationId xmlns:a16="http://schemas.microsoft.com/office/drawing/2014/main" id="{5DA9B318-47DF-2580-433D-F62B432CDB95}"/>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8" name="Imagen 7">
            <a:extLst>
              <a:ext uri="{FF2B5EF4-FFF2-40B4-BE49-F238E27FC236}">
                <a16:creationId xmlns:a16="http://schemas.microsoft.com/office/drawing/2014/main" id="{348ECC52-5278-C925-29C6-E1C9231EA5CA}"/>
              </a:ext>
            </a:extLst>
          </p:cNvPr>
          <p:cNvPicPr>
            <a:picLocks noChangeAspect="1"/>
          </p:cNvPicPr>
          <p:nvPr userDrawn="1"/>
        </p:nvPicPr>
        <p:blipFill>
          <a:blip r:embed="rId2"/>
          <a:srcRect/>
          <a:stretch/>
        </p:blipFill>
        <p:spPr>
          <a:xfrm>
            <a:off x="10897549" y="62235"/>
            <a:ext cx="1062033" cy="374066"/>
          </a:xfrm>
          <a:prstGeom prst="rect">
            <a:avLst/>
          </a:prstGeom>
        </p:spPr>
      </p:pic>
    </p:spTree>
    <p:extLst>
      <p:ext uri="{BB962C8B-B14F-4D97-AF65-F5344CB8AC3E}">
        <p14:creationId xmlns:p14="http://schemas.microsoft.com/office/powerpoint/2010/main" val="188017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Contenido 4">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6" name="Rectángulo 5">
            <a:extLst>
              <a:ext uri="{FF2B5EF4-FFF2-40B4-BE49-F238E27FC236}">
                <a16:creationId xmlns:a16="http://schemas.microsoft.com/office/drawing/2014/main" id="{458E7AE3-F59B-26DF-71CD-1AADC174E6B7}"/>
              </a:ext>
            </a:extLst>
          </p:cNvPr>
          <p:cNvSpPr/>
          <p:nvPr userDrawn="1"/>
        </p:nvSpPr>
        <p:spPr>
          <a:xfrm>
            <a:off x="0" y="0"/>
            <a:ext cx="12192000" cy="4978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Título 1">
            <a:extLst>
              <a:ext uri="{FF2B5EF4-FFF2-40B4-BE49-F238E27FC236}">
                <a16:creationId xmlns:a16="http://schemas.microsoft.com/office/drawing/2014/main" id="{AF31C342-B2F9-9AAD-B5F1-419A571F1368}"/>
              </a:ext>
            </a:extLst>
          </p:cNvPr>
          <p:cNvSpPr>
            <a:spLocks noGrp="1"/>
          </p:cNvSpPr>
          <p:nvPr>
            <p:ph type="title"/>
          </p:nvPr>
        </p:nvSpPr>
        <p:spPr>
          <a:xfrm>
            <a:off x="325119" y="107316"/>
            <a:ext cx="10454006" cy="283205"/>
          </a:xfrm>
        </p:spPr>
        <p:txBody>
          <a:bodyPr>
            <a:noAutofit/>
          </a:bodyPr>
          <a:lstStyle>
            <a:lvl1pPr>
              <a:defRPr sz="2000" b="0" i="0">
                <a:solidFill>
                  <a:schemeClr val="bg1"/>
                </a:solidFill>
                <a:latin typeface="Montserrat" pitchFamily="2" charset="77"/>
              </a:defRPr>
            </a:lvl1pPr>
          </a:lstStyle>
          <a:p>
            <a:r>
              <a:rPr lang="es-MX" dirty="0"/>
              <a:t>Haz clic para modificar el estilo de título del patrón</a:t>
            </a:r>
            <a:endParaRPr lang="es-CL" dirty="0"/>
          </a:p>
        </p:txBody>
      </p:sp>
      <p:pic>
        <p:nvPicPr>
          <p:cNvPr id="5" name="Imagen 4">
            <a:extLst>
              <a:ext uri="{FF2B5EF4-FFF2-40B4-BE49-F238E27FC236}">
                <a16:creationId xmlns:a16="http://schemas.microsoft.com/office/drawing/2014/main" id="{98614449-6A0E-24FC-94FF-0E1A9B732FA3}"/>
              </a:ext>
            </a:extLst>
          </p:cNvPr>
          <p:cNvPicPr>
            <a:picLocks noChangeAspect="1"/>
          </p:cNvPicPr>
          <p:nvPr userDrawn="1"/>
        </p:nvPicPr>
        <p:blipFill>
          <a:blip r:embed="rId2"/>
          <a:srcRect/>
          <a:stretch/>
        </p:blipFill>
        <p:spPr>
          <a:xfrm>
            <a:off x="10897549" y="62235"/>
            <a:ext cx="1062033" cy="374066"/>
          </a:xfrm>
          <a:prstGeom prst="rect">
            <a:avLst/>
          </a:prstGeom>
        </p:spPr>
      </p:pic>
    </p:spTree>
    <p:extLst>
      <p:ext uri="{BB962C8B-B14F-4D97-AF65-F5344CB8AC3E}">
        <p14:creationId xmlns:p14="http://schemas.microsoft.com/office/powerpoint/2010/main" val="24742977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apositiva Cierre">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4" name="Imagen 3">
            <a:extLst>
              <a:ext uri="{FF2B5EF4-FFF2-40B4-BE49-F238E27FC236}">
                <a16:creationId xmlns:a16="http://schemas.microsoft.com/office/drawing/2014/main" id="{8C66F1DC-B4DA-34AC-C90E-B5736E22E9A2}"/>
              </a:ext>
            </a:extLst>
          </p:cNvPr>
          <p:cNvPicPr>
            <a:picLocks noChangeAspect="1"/>
          </p:cNvPicPr>
          <p:nvPr userDrawn="1"/>
        </p:nvPicPr>
        <p:blipFill>
          <a:blip r:embed="rId2"/>
          <a:stretch>
            <a:fillRect/>
          </a:stretch>
        </p:blipFill>
        <p:spPr>
          <a:xfrm>
            <a:off x="4101765" y="2968297"/>
            <a:ext cx="3988470" cy="921407"/>
          </a:xfrm>
          <a:prstGeom prst="rect">
            <a:avLst/>
          </a:prstGeom>
        </p:spPr>
      </p:pic>
    </p:spTree>
    <p:extLst>
      <p:ext uri="{BB962C8B-B14F-4D97-AF65-F5344CB8AC3E}">
        <p14:creationId xmlns:p14="http://schemas.microsoft.com/office/powerpoint/2010/main" val="14311230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Diapositiva Cierre">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F23A5BF2-835E-FCBF-7A57-199728419806}"/>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4" name="Imagen 3">
            <a:extLst>
              <a:ext uri="{FF2B5EF4-FFF2-40B4-BE49-F238E27FC236}">
                <a16:creationId xmlns:a16="http://schemas.microsoft.com/office/drawing/2014/main" id="{D265FD05-A9AF-511B-92E1-BC4BBD775AF2}"/>
              </a:ext>
            </a:extLst>
          </p:cNvPr>
          <p:cNvPicPr>
            <a:picLocks noChangeAspect="1"/>
          </p:cNvPicPr>
          <p:nvPr userDrawn="1"/>
        </p:nvPicPr>
        <p:blipFill>
          <a:blip r:embed="rId2"/>
          <a:stretch>
            <a:fillRect/>
          </a:stretch>
        </p:blipFill>
        <p:spPr>
          <a:xfrm>
            <a:off x="4447872" y="5050430"/>
            <a:ext cx="3296256" cy="752895"/>
          </a:xfrm>
          <a:prstGeom prst="rect">
            <a:avLst/>
          </a:prstGeom>
        </p:spPr>
      </p:pic>
      <p:pic>
        <p:nvPicPr>
          <p:cNvPr id="2" name="Imagen 1">
            <a:extLst>
              <a:ext uri="{FF2B5EF4-FFF2-40B4-BE49-F238E27FC236}">
                <a16:creationId xmlns:a16="http://schemas.microsoft.com/office/drawing/2014/main" id="{F6998C59-8994-BAAF-CC48-180BE77BC5A0}"/>
              </a:ext>
            </a:extLst>
          </p:cNvPr>
          <p:cNvPicPr>
            <a:picLocks noChangeAspect="1"/>
          </p:cNvPicPr>
          <p:nvPr userDrawn="1"/>
        </p:nvPicPr>
        <p:blipFill>
          <a:blip r:embed="rId3"/>
          <a:stretch>
            <a:fillRect/>
          </a:stretch>
        </p:blipFill>
        <p:spPr>
          <a:xfrm>
            <a:off x="4101765" y="2968297"/>
            <a:ext cx="3988470" cy="921407"/>
          </a:xfrm>
          <a:prstGeom prst="rect">
            <a:avLst/>
          </a:prstGeom>
        </p:spPr>
      </p:pic>
    </p:spTree>
    <p:extLst>
      <p:ext uri="{BB962C8B-B14F-4D97-AF65-F5344CB8AC3E}">
        <p14:creationId xmlns:p14="http://schemas.microsoft.com/office/powerpoint/2010/main" val="11213273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72F3858-3713-581A-64EF-B336A13D7E0C}"/>
              </a:ext>
            </a:extLst>
          </p:cNvPr>
          <p:cNvSpPr>
            <a:spLocks noGrp="1"/>
          </p:cNvSpPr>
          <p:nvPr>
            <p:ph type="title"/>
          </p:nvPr>
        </p:nvSpPr>
        <p:spPr>
          <a:xfrm>
            <a:off x="300037" y="692150"/>
            <a:ext cx="11591925" cy="998538"/>
          </a:xfrm>
        </p:spPr>
        <p:txBody>
          <a:bodyPr/>
          <a:lstStyle>
            <a:lvl1pPr>
              <a:defRPr sz="3200" b="1">
                <a:latin typeface="Montserrat" pitchFamily="2" charset="77"/>
              </a:defRPr>
            </a:lvl1pPr>
          </a:lstStyle>
          <a:p>
            <a:r>
              <a:rPr lang="es-MX" dirty="0"/>
              <a:t>Haz clic para modificar el estilo de título del patrón</a:t>
            </a:r>
            <a:endParaRPr lang="es-CL" dirty="0"/>
          </a:p>
        </p:txBody>
      </p:sp>
      <p:sp>
        <p:nvSpPr>
          <p:cNvPr id="3" name="Marcador de contenido 2">
            <a:extLst>
              <a:ext uri="{FF2B5EF4-FFF2-40B4-BE49-F238E27FC236}">
                <a16:creationId xmlns:a16="http://schemas.microsoft.com/office/drawing/2014/main" id="{C9C005CB-4B40-182F-5A1E-6996752EB418}"/>
              </a:ext>
            </a:extLst>
          </p:cNvPr>
          <p:cNvSpPr>
            <a:spLocks noGrp="1"/>
          </p:cNvSpPr>
          <p:nvPr>
            <p:ph idx="1"/>
          </p:nvPr>
        </p:nvSpPr>
        <p:spPr>
          <a:xfrm>
            <a:off x="300037" y="1825625"/>
            <a:ext cx="11591925" cy="4699000"/>
          </a:xfrm>
        </p:spPr>
        <p:txBody>
          <a:bodyPr>
            <a:normAutofit/>
          </a:bodyPr>
          <a:lstStyle>
            <a:lvl1pPr>
              <a:defRPr sz="1800">
                <a:latin typeface="Montserrat" pitchFamily="2" charset="77"/>
              </a:defRPr>
            </a:lvl1pPr>
            <a:lvl2pPr>
              <a:defRPr sz="1600">
                <a:latin typeface="Montserrat" pitchFamily="2" charset="77"/>
              </a:defRPr>
            </a:lvl2pPr>
            <a:lvl3pPr>
              <a:defRPr sz="1400">
                <a:latin typeface="Montserrat" pitchFamily="2" charset="77"/>
              </a:defRPr>
            </a:lvl3pPr>
            <a:lvl4pPr>
              <a:defRPr sz="1200">
                <a:latin typeface="Montserrat" pitchFamily="2" charset="77"/>
              </a:defRPr>
            </a:lvl4pPr>
            <a:lvl5pPr>
              <a:defRPr sz="1200">
                <a:latin typeface="Montserrat" pitchFamily="2" charset="77"/>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Tree>
    <p:extLst>
      <p:ext uri="{BB962C8B-B14F-4D97-AF65-F5344CB8AC3E}">
        <p14:creationId xmlns:p14="http://schemas.microsoft.com/office/powerpoint/2010/main" val="26146669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7C72B3E-20C6-545E-44A2-0AEC8B836EE7}"/>
              </a:ext>
            </a:extLst>
          </p:cNvPr>
          <p:cNvSpPr>
            <a:spLocks noGrp="1"/>
          </p:cNvSpPr>
          <p:nvPr>
            <p:ph type="title"/>
          </p:nvPr>
        </p:nvSpPr>
        <p:spPr>
          <a:xfrm>
            <a:off x="300037" y="692150"/>
            <a:ext cx="11591925" cy="998538"/>
          </a:xfrm>
        </p:spPr>
        <p:txBody>
          <a:bodyPr>
            <a:normAutofit/>
          </a:bodyPr>
          <a:lstStyle>
            <a:lvl1pPr>
              <a:defRPr sz="3200" b="1">
                <a:latin typeface="Montserrat" pitchFamily="2" charset="77"/>
              </a:defRPr>
            </a:lvl1pPr>
          </a:lstStyle>
          <a:p>
            <a:r>
              <a:rPr lang="es-MX" dirty="0"/>
              <a:t>Haz clic para modificar el estilo de título del patrón</a:t>
            </a:r>
            <a:endParaRPr lang="es-CL" dirty="0"/>
          </a:p>
        </p:txBody>
      </p:sp>
      <p:sp>
        <p:nvSpPr>
          <p:cNvPr id="3" name="Marcador de contenido 2">
            <a:extLst>
              <a:ext uri="{FF2B5EF4-FFF2-40B4-BE49-F238E27FC236}">
                <a16:creationId xmlns:a16="http://schemas.microsoft.com/office/drawing/2014/main" id="{8C2C1F60-1828-3E19-2FFF-D70034624740}"/>
              </a:ext>
            </a:extLst>
          </p:cNvPr>
          <p:cNvSpPr>
            <a:spLocks noGrp="1"/>
          </p:cNvSpPr>
          <p:nvPr>
            <p:ph sz="half" idx="1"/>
          </p:nvPr>
        </p:nvSpPr>
        <p:spPr>
          <a:xfrm>
            <a:off x="300037" y="1825625"/>
            <a:ext cx="5719763" cy="4699000"/>
          </a:xfrm>
        </p:spPr>
        <p:txBody>
          <a:bodyPr>
            <a:normAutofit/>
          </a:bodyPr>
          <a:lstStyle>
            <a:lvl1pPr>
              <a:defRPr sz="2000">
                <a:latin typeface="Montserrat" pitchFamily="2" charset="77"/>
              </a:defRPr>
            </a:lvl1pPr>
            <a:lvl2pPr>
              <a:defRPr sz="1800">
                <a:latin typeface="Montserrat" pitchFamily="2" charset="77"/>
              </a:defRPr>
            </a:lvl2pPr>
            <a:lvl3pPr>
              <a:defRPr sz="1600">
                <a:latin typeface="Montserrat" pitchFamily="2" charset="77"/>
              </a:defRPr>
            </a:lvl3pPr>
            <a:lvl4pPr>
              <a:defRPr sz="1400">
                <a:latin typeface="Montserrat" pitchFamily="2" charset="77"/>
              </a:defRPr>
            </a:lvl4pPr>
            <a:lvl5pPr>
              <a:defRPr sz="1400">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4" name="Marcador de contenido 3">
            <a:extLst>
              <a:ext uri="{FF2B5EF4-FFF2-40B4-BE49-F238E27FC236}">
                <a16:creationId xmlns:a16="http://schemas.microsoft.com/office/drawing/2014/main" id="{E5C8F67D-72FA-27D5-D0A0-C0207C8B6859}"/>
              </a:ext>
            </a:extLst>
          </p:cNvPr>
          <p:cNvSpPr>
            <a:spLocks noGrp="1"/>
          </p:cNvSpPr>
          <p:nvPr>
            <p:ph sz="half" idx="2"/>
          </p:nvPr>
        </p:nvSpPr>
        <p:spPr>
          <a:xfrm>
            <a:off x="6172200" y="1825625"/>
            <a:ext cx="5719762" cy="4699000"/>
          </a:xfrm>
        </p:spPr>
        <p:txBody>
          <a:bodyPr>
            <a:normAutofit/>
          </a:bodyPr>
          <a:lstStyle>
            <a:lvl1pPr>
              <a:defRPr sz="2000">
                <a:latin typeface="Montserrat" pitchFamily="2" charset="77"/>
              </a:defRPr>
            </a:lvl1pPr>
            <a:lvl2pPr>
              <a:defRPr sz="1800">
                <a:latin typeface="Montserrat" pitchFamily="2" charset="77"/>
              </a:defRPr>
            </a:lvl2pPr>
            <a:lvl3pPr>
              <a:defRPr sz="1600">
                <a:latin typeface="Montserrat" pitchFamily="2" charset="77"/>
              </a:defRPr>
            </a:lvl3pPr>
            <a:lvl4pPr>
              <a:defRPr sz="1400">
                <a:latin typeface="Montserrat" pitchFamily="2" charset="77"/>
              </a:defRPr>
            </a:lvl4pPr>
            <a:lvl5pPr>
              <a:defRPr sz="1400">
                <a:latin typeface="Montserrat" pitchFamily="2" charset="77"/>
              </a:defRPr>
            </a:lvl5p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CL"/>
          </a:p>
        </p:txBody>
      </p:sp>
    </p:spTree>
    <p:extLst>
      <p:ext uri="{BB962C8B-B14F-4D97-AF65-F5344CB8AC3E}">
        <p14:creationId xmlns:p14="http://schemas.microsoft.com/office/powerpoint/2010/main" val="21003131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843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positiva de título 2">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0" name="Imagen 9">
            <a:extLst>
              <a:ext uri="{FF2B5EF4-FFF2-40B4-BE49-F238E27FC236}">
                <a16:creationId xmlns:a16="http://schemas.microsoft.com/office/drawing/2014/main" id="{B992B8AE-8ECC-1262-2296-F0CFC4D60FA7}"/>
              </a:ext>
            </a:extLst>
          </p:cNvPr>
          <p:cNvPicPr>
            <a:picLocks noChangeAspect="1"/>
          </p:cNvPicPr>
          <p:nvPr userDrawn="1"/>
        </p:nvPicPr>
        <p:blipFill>
          <a:blip r:embed="rId2"/>
          <a:stretch>
            <a:fillRect/>
          </a:stretch>
        </p:blipFill>
        <p:spPr>
          <a:xfrm>
            <a:off x="11029822" y="322008"/>
            <a:ext cx="800355" cy="800355"/>
          </a:xfrm>
          <a:prstGeom prst="rect">
            <a:avLst/>
          </a:prstGeom>
        </p:spPr>
      </p:pic>
      <p:sp>
        <p:nvSpPr>
          <p:cNvPr id="11" name="Rectángulo 10">
            <a:extLst>
              <a:ext uri="{FF2B5EF4-FFF2-40B4-BE49-F238E27FC236}">
                <a16:creationId xmlns:a16="http://schemas.microsoft.com/office/drawing/2014/main" id="{1BB6289D-B75D-3B52-0840-5BCB542B6150}"/>
              </a:ext>
            </a:extLst>
          </p:cNvPr>
          <p:cNvSpPr/>
          <p:nvPr userDrawn="1"/>
        </p:nvSpPr>
        <p:spPr>
          <a:xfrm>
            <a:off x="1" y="0"/>
            <a:ext cx="466344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a:blip r:embed="rId3"/>
          <a:srcRect l="8019" r="8019"/>
          <a:stretch/>
        </p:blipFill>
        <p:spPr>
          <a:xfrm>
            <a:off x="863600" y="1444370"/>
            <a:ext cx="5801360" cy="4610990"/>
          </a:xfrm>
          <a:prstGeom prst="rect">
            <a:avLst/>
          </a:prstGeom>
        </p:spPr>
      </p:pic>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7081521" y="1444370"/>
            <a:ext cx="4582159" cy="1266983"/>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7081521" y="2740642"/>
            <a:ext cx="4582159"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7081521" y="3556000"/>
            <a:ext cx="4582159" cy="2499360"/>
          </a:xfrm>
        </p:spPr>
        <p:txBody>
          <a:bodyPr>
            <a:normAutofit/>
          </a:bodyPr>
          <a:lstStyle>
            <a:lvl1pPr marL="0" indent="0">
              <a:lnSpc>
                <a:spcPct val="100000"/>
              </a:lnSpc>
              <a:buNone/>
              <a:defRPr sz="1400" b="0" i="0">
                <a:solidFill>
                  <a:schemeClr val="bg1"/>
                </a:solidFill>
                <a:latin typeface="Montserrat" pitchFamily="2" charset="77"/>
              </a:defRPr>
            </a:lvl1pPr>
            <a:lvl2pPr marL="457200" indent="0">
              <a:lnSpc>
                <a:spcPct val="100000"/>
              </a:lnSpc>
              <a:buNone/>
              <a:defRPr sz="1200" b="0" i="0">
                <a:solidFill>
                  <a:schemeClr val="bg1"/>
                </a:solidFill>
                <a:latin typeface="Montserrat" pitchFamily="2" charset="77"/>
              </a:defRPr>
            </a:lvl2pPr>
            <a:lvl3pPr marL="914400" indent="0">
              <a:lnSpc>
                <a:spcPct val="100000"/>
              </a:lnSpc>
              <a:buNone/>
              <a:defRPr sz="1100" b="0" i="0">
                <a:solidFill>
                  <a:schemeClr val="bg1"/>
                </a:solidFill>
                <a:latin typeface="Montserrat" pitchFamily="2" charset="77"/>
              </a:defRPr>
            </a:lvl3pPr>
            <a:lvl4pPr marL="1371600" indent="0">
              <a:lnSpc>
                <a:spcPct val="100000"/>
              </a:lnSpc>
              <a:buNone/>
              <a:defRPr sz="1050" b="0" i="0">
                <a:solidFill>
                  <a:schemeClr val="bg1"/>
                </a:solidFill>
                <a:latin typeface="Montserrat" pitchFamily="2" charset="77"/>
              </a:defRPr>
            </a:lvl4pPr>
            <a:lvl5pPr marL="1828800" indent="0">
              <a:lnSpc>
                <a:spcPct val="100000"/>
              </a:lnSpc>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Tree>
    <p:extLst>
      <p:ext uri="{BB962C8B-B14F-4D97-AF65-F5344CB8AC3E}">
        <p14:creationId xmlns:p14="http://schemas.microsoft.com/office/powerpoint/2010/main" val="28083497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ítulo y objetos">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A9A27B11-369C-FC42-AE87-57823E0D8CF3}"/>
              </a:ext>
            </a:extLst>
          </p:cNvPr>
          <p:cNvPicPr>
            <a:picLocks noChangeAspect="1"/>
          </p:cNvPicPr>
          <p:nvPr userDrawn="1"/>
        </p:nvPicPr>
        <p:blipFill>
          <a:blip r:embed="rId2"/>
          <a:stretch>
            <a:fillRect/>
          </a:stretch>
        </p:blipFill>
        <p:spPr>
          <a:xfrm>
            <a:off x="9094221" y="214397"/>
            <a:ext cx="2828582" cy="574619"/>
          </a:xfrm>
          <a:prstGeom prst="rect">
            <a:avLst/>
          </a:prstGeom>
        </p:spPr>
      </p:pic>
      <p:sp>
        <p:nvSpPr>
          <p:cNvPr id="2" name="Título 1">
            <a:extLst>
              <a:ext uri="{FF2B5EF4-FFF2-40B4-BE49-F238E27FC236}">
                <a16:creationId xmlns:a16="http://schemas.microsoft.com/office/drawing/2014/main" id="{8BD9637C-BC98-7A4E-AB38-DDC2E619B557}"/>
              </a:ext>
            </a:extLst>
          </p:cNvPr>
          <p:cNvSpPr>
            <a:spLocks noGrp="1"/>
          </p:cNvSpPr>
          <p:nvPr>
            <p:ph type="title"/>
          </p:nvPr>
        </p:nvSpPr>
        <p:spPr/>
        <p:txBody>
          <a:bodyPr/>
          <a:lstStyle/>
          <a:p>
            <a:r>
              <a:rPr lang="es-ES"/>
              <a:t>Haga clic para modificar el estilo de título del patrón</a:t>
            </a:r>
            <a:endParaRPr lang="es-CL"/>
          </a:p>
        </p:txBody>
      </p:sp>
    </p:spTree>
    <p:extLst>
      <p:ext uri="{BB962C8B-B14F-4D97-AF65-F5344CB8AC3E}">
        <p14:creationId xmlns:p14="http://schemas.microsoft.com/office/powerpoint/2010/main" val="569144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a de indice">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4704081" y="1444370"/>
            <a:ext cx="3738879" cy="1603630"/>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4704081" y="3048000"/>
            <a:ext cx="3738879" cy="2365630"/>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300039" y="1444370"/>
            <a:ext cx="4211002" cy="4610990"/>
          </a:xfrm>
        </p:spPr>
        <p:txBody>
          <a:bodyPr>
            <a:normAutofit/>
          </a:bodyPr>
          <a:lstStyle>
            <a:lvl1pPr marL="0" indent="0">
              <a:lnSpc>
                <a:spcPct val="100000"/>
              </a:lnSpc>
              <a:buNone/>
              <a:defRPr sz="1400" b="0" i="0">
                <a:solidFill>
                  <a:schemeClr val="bg1"/>
                </a:solidFill>
                <a:latin typeface="Montserrat" pitchFamily="2" charset="77"/>
              </a:defRPr>
            </a:lvl1pPr>
            <a:lvl2pPr marL="457200" indent="0">
              <a:lnSpc>
                <a:spcPct val="100000"/>
              </a:lnSpc>
              <a:buNone/>
              <a:defRPr sz="1200" b="0" i="0">
                <a:solidFill>
                  <a:schemeClr val="bg1"/>
                </a:solidFill>
                <a:latin typeface="Montserrat" pitchFamily="2" charset="77"/>
              </a:defRPr>
            </a:lvl2pPr>
            <a:lvl3pPr marL="914400" indent="0">
              <a:lnSpc>
                <a:spcPct val="100000"/>
              </a:lnSpc>
              <a:buNone/>
              <a:defRPr sz="1100" b="0" i="0">
                <a:solidFill>
                  <a:schemeClr val="bg1"/>
                </a:solidFill>
                <a:latin typeface="Montserrat" pitchFamily="2" charset="77"/>
              </a:defRPr>
            </a:lvl3pPr>
            <a:lvl4pPr marL="1371600" indent="0">
              <a:lnSpc>
                <a:spcPct val="100000"/>
              </a:lnSpc>
              <a:buNone/>
              <a:defRPr sz="1050" b="0" i="0">
                <a:solidFill>
                  <a:schemeClr val="bg1"/>
                </a:solidFill>
                <a:latin typeface="Montserrat" pitchFamily="2" charset="77"/>
              </a:defRPr>
            </a:lvl4pPr>
            <a:lvl5pPr marL="1828800" indent="0">
              <a:lnSpc>
                <a:spcPct val="100000"/>
              </a:lnSpc>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pic>
        <p:nvPicPr>
          <p:cNvPr id="6" name="Imagen 5">
            <a:extLst>
              <a:ext uri="{FF2B5EF4-FFF2-40B4-BE49-F238E27FC236}">
                <a16:creationId xmlns:a16="http://schemas.microsoft.com/office/drawing/2014/main" id="{0509B39A-F12B-3EED-A462-9998443017F9}"/>
              </a:ext>
            </a:extLst>
          </p:cNvPr>
          <p:cNvPicPr>
            <a:picLocks noChangeAspect="1"/>
          </p:cNvPicPr>
          <p:nvPr userDrawn="1"/>
        </p:nvPicPr>
        <p:blipFill rotWithShape="1">
          <a:blip r:embed="rId2"/>
          <a:srcRect l="6" r="14598" b="14673"/>
          <a:stretch/>
        </p:blipFill>
        <p:spPr>
          <a:xfrm>
            <a:off x="8969879" y="1481658"/>
            <a:ext cx="3222121" cy="5376341"/>
          </a:xfrm>
          <a:prstGeom prst="rect">
            <a:avLst/>
          </a:prstGeom>
        </p:spPr>
      </p:pic>
      <p:pic>
        <p:nvPicPr>
          <p:cNvPr id="4" name="Imagen 3">
            <a:extLst>
              <a:ext uri="{FF2B5EF4-FFF2-40B4-BE49-F238E27FC236}">
                <a16:creationId xmlns:a16="http://schemas.microsoft.com/office/drawing/2014/main" id="{32379CDF-E02F-E19E-B11A-DAD7D51FA4C4}"/>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35036868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positiva de indice 2">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4277361" y="1773238"/>
            <a:ext cx="3906727" cy="1655762"/>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4277361" y="3429000"/>
            <a:ext cx="3906727" cy="2313498"/>
          </a:xfrm>
        </p:spPr>
        <p:txBody>
          <a:bodyPr>
            <a:normAutofit/>
          </a:bodyPr>
          <a:lstStyle>
            <a:lvl1pPr marL="0" indent="0" algn="l">
              <a:buNone/>
              <a:defRPr sz="2000" b="1" i="0">
                <a:solidFill>
                  <a:srgbClr val="1E1D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pic>
        <p:nvPicPr>
          <p:cNvPr id="5" name="Imagen 4">
            <a:extLst>
              <a:ext uri="{FF2B5EF4-FFF2-40B4-BE49-F238E27FC236}">
                <a16:creationId xmlns:a16="http://schemas.microsoft.com/office/drawing/2014/main" id="{B113D2D2-7797-333A-632A-4D1C4E61F47E}"/>
              </a:ext>
            </a:extLst>
          </p:cNvPr>
          <p:cNvPicPr>
            <a:picLocks noChangeAspect="1"/>
          </p:cNvPicPr>
          <p:nvPr userDrawn="1"/>
        </p:nvPicPr>
        <p:blipFill rotWithShape="1">
          <a:blip r:embed="rId2"/>
          <a:srcRect b="26058"/>
          <a:stretch/>
        </p:blipFill>
        <p:spPr>
          <a:xfrm>
            <a:off x="168616" y="722185"/>
            <a:ext cx="3839298" cy="6135815"/>
          </a:xfrm>
          <a:prstGeom prst="rect">
            <a:avLst/>
          </a:prstGeom>
        </p:spPr>
      </p:pic>
      <p:sp>
        <p:nvSpPr>
          <p:cNvPr id="7" name="Marcador de texto 6">
            <a:extLst>
              <a:ext uri="{FF2B5EF4-FFF2-40B4-BE49-F238E27FC236}">
                <a16:creationId xmlns:a16="http://schemas.microsoft.com/office/drawing/2014/main" id="{BE0F15AF-ECF5-F3AC-2373-5E129758A497}"/>
              </a:ext>
            </a:extLst>
          </p:cNvPr>
          <p:cNvSpPr>
            <a:spLocks noGrp="1"/>
          </p:cNvSpPr>
          <p:nvPr>
            <p:ph type="body" sz="quarter" idx="10"/>
          </p:nvPr>
        </p:nvSpPr>
        <p:spPr>
          <a:xfrm>
            <a:off x="8321039" y="1773238"/>
            <a:ext cx="3570924" cy="3969260"/>
          </a:xfrm>
          <a:ln>
            <a:noFill/>
          </a:ln>
        </p:spPr>
        <p:txBody>
          <a:bodyPr>
            <a:normAutofit/>
          </a:bodyPr>
          <a:lstStyle>
            <a:lvl1pPr marL="0" indent="0">
              <a:buNone/>
              <a:defRPr sz="1600" b="0" i="0">
                <a:solidFill>
                  <a:schemeClr val="bg1"/>
                </a:solidFill>
                <a:latin typeface="Montserrat" pitchFamily="2" charset="77"/>
              </a:defRPr>
            </a:lvl1pPr>
            <a:lvl2pPr marL="457200" indent="0">
              <a:buNone/>
              <a:defRPr sz="1400" b="0" i="0">
                <a:solidFill>
                  <a:schemeClr val="bg1"/>
                </a:solidFill>
                <a:latin typeface="Montserrat" pitchFamily="2" charset="77"/>
              </a:defRPr>
            </a:lvl2pPr>
            <a:lvl3pPr marL="914400" indent="0">
              <a:buNone/>
              <a:defRPr sz="1200" b="0" i="0">
                <a:solidFill>
                  <a:schemeClr val="bg1"/>
                </a:solidFill>
                <a:latin typeface="Montserrat" pitchFamily="2" charset="77"/>
              </a:defRPr>
            </a:lvl3pPr>
            <a:lvl4pPr marL="1371600" indent="0">
              <a:buNone/>
              <a:defRPr sz="1100" b="0" i="0">
                <a:solidFill>
                  <a:schemeClr val="bg1"/>
                </a:solidFill>
                <a:latin typeface="Montserrat" pitchFamily="2" charset="77"/>
              </a:defRPr>
            </a:lvl4pPr>
            <a:lvl5pPr marL="1828800" indent="0">
              <a:buNone/>
              <a:defRPr sz="110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pic>
        <p:nvPicPr>
          <p:cNvPr id="6" name="Imagen 5">
            <a:extLst>
              <a:ext uri="{FF2B5EF4-FFF2-40B4-BE49-F238E27FC236}">
                <a16:creationId xmlns:a16="http://schemas.microsoft.com/office/drawing/2014/main" id="{71AD2041-E88E-2FCF-0DB1-7BEB3B5FB95C}"/>
              </a:ext>
            </a:extLst>
          </p:cNvPr>
          <p:cNvPicPr>
            <a:picLocks noChangeAspect="1"/>
          </p:cNvPicPr>
          <p:nvPr userDrawn="1"/>
        </p:nvPicPr>
        <p:blipFill>
          <a:blip r:embed="rId3"/>
          <a:srcRect/>
          <a:stretch/>
        </p:blipFill>
        <p:spPr>
          <a:xfrm>
            <a:off x="8204295" y="322008"/>
            <a:ext cx="3625881" cy="837643"/>
          </a:xfrm>
          <a:prstGeom prst="rect">
            <a:avLst/>
          </a:prstGeom>
        </p:spPr>
      </p:pic>
    </p:spTree>
    <p:extLst>
      <p:ext uri="{BB962C8B-B14F-4D97-AF65-F5344CB8AC3E}">
        <p14:creationId xmlns:p14="http://schemas.microsoft.com/office/powerpoint/2010/main" val="34601596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a de indice 3">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4704081" y="1444370"/>
            <a:ext cx="5862319" cy="1603630"/>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4704081" y="3048000"/>
            <a:ext cx="5862319" cy="762001"/>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4704081" y="3872610"/>
            <a:ext cx="5862319" cy="2507870"/>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pic>
        <p:nvPicPr>
          <p:cNvPr id="7" name="Imagen 6">
            <a:extLst>
              <a:ext uri="{FF2B5EF4-FFF2-40B4-BE49-F238E27FC236}">
                <a16:creationId xmlns:a16="http://schemas.microsoft.com/office/drawing/2014/main" id="{6E12286D-AD75-C0D6-1B9D-BA17A502615C}"/>
              </a:ext>
            </a:extLst>
          </p:cNvPr>
          <p:cNvPicPr>
            <a:picLocks noChangeAspect="1"/>
          </p:cNvPicPr>
          <p:nvPr userDrawn="1"/>
        </p:nvPicPr>
        <p:blipFill rotWithShape="1">
          <a:blip r:embed="rId2"/>
          <a:srcRect b="17051"/>
          <a:stretch/>
        </p:blipFill>
        <p:spPr>
          <a:xfrm>
            <a:off x="547692" y="428541"/>
            <a:ext cx="3414708" cy="6429460"/>
          </a:xfrm>
          <a:prstGeom prst="rect">
            <a:avLst/>
          </a:prstGeom>
        </p:spPr>
      </p:pic>
      <p:pic>
        <p:nvPicPr>
          <p:cNvPr id="4" name="Imagen 3">
            <a:extLst>
              <a:ext uri="{FF2B5EF4-FFF2-40B4-BE49-F238E27FC236}">
                <a16:creationId xmlns:a16="http://schemas.microsoft.com/office/drawing/2014/main" id="{8C3C77F8-0D07-ACC0-8D58-768BC727A527}"/>
              </a:ext>
            </a:extLst>
          </p:cNvPr>
          <p:cNvPicPr>
            <a:picLocks noChangeAspect="1"/>
          </p:cNvPicPr>
          <p:nvPr userDrawn="1"/>
        </p:nvPicPr>
        <p:blipFill>
          <a:blip r:embed="rId3"/>
          <a:srcRect/>
          <a:stretch/>
        </p:blipFill>
        <p:spPr>
          <a:xfrm>
            <a:off x="8204295" y="322008"/>
            <a:ext cx="3625881" cy="837643"/>
          </a:xfrm>
          <a:prstGeom prst="rect">
            <a:avLst/>
          </a:prstGeom>
        </p:spPr>
      </p:pic>
    </p:spTree>
    <p:extLst>
      <p:ext uri="{BB962C8B-B14F-4D97-AF65-F5344CB8AC3E}">
        <p14:creationId xmlns:p14="http://schemas.microsoft.com/office/powerpoint/2010/main" val="14009264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apositiva de indice 2">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6" name="Imagen 5">
            <a:extLst>
              <a:ext uri="{FF2B5EF4-FFF2-40B4-BE49-F238E27FC236}">
                <a16:creationId xmlns:a16="http://schemas.microsoft.com/office/drawing/2014/main" id="{4DBDD7CD-9C18-E29B-E962-AD8925D4D439}"/>
              </a:ext>
            </a:extLst>
          </p:cNvPr>
          <p:cNvPicPr>
            <a:picLocks noChangeAspect="1"/>
          </p:cNvPicPr>
          <p:nvPr userDrawn="1"/>
        </p:nvPicPr>
        <p:blipFill rotWithShape="1">
          <a:blip r:embed="rId2"/>
          <a:srcRect l="34784" r="7006"/>
          <a:stretch/>
        </p:blipFill>
        <p:spPr>
          <a:xfrm>
            <a:off x="6203950" y="0"/>
            <a:ext cx="5988050" cy="6858000"/>
          </a:xfrm>
          <a:prstGeom prst="rect">
            <a:avLst/>
          </a:prstGeom>
        </p:spPr>
      </p:pic>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300038" y="1039813"/>
            <a:ext cx="5688013" cy="1655762"/>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300038" y="2695575"/>
            <a:ext cx="5688013" cy="625475"/>
          </a:xfrm>
        </p:spPr>
        <p:txBody>
          <a:bodyPr>
            <a:normAutofit/>
          </a:bodyPr>
          <a:lstStyle>
            <a:lvl1pPr marL="0" indent="0" algn="l">
              <a:buNone/>
              <a:defRPr sz="2000" b="1" i="0">
                <a:solidFill>
                  <a:srgbClr val="1E1D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7" name="Marcador de texto 6">
            <a:extLst>
              <a:ext uri="{FF2B5EF4-FFF2-40B4-BE49-F238E27FC236}">
                <a16:creationId xmlns:a16="http://schemas.microsoft.com/office/drawing/2014/main" id="{BE0F15AF-ECF5-F3AC-2373-5E129758A497}"/>
              </a:ext>
            </a:extLst>
          </p:cNvPr>
          <p:cNvSpPr>
            <a:spLocks noGrp="1"/>
          </p:cNvSpPr>
          <p:nvPr>
            <p:ph type="body" sz="quarter" idx="10"/>
          </p:nvPr>
        </p:nvSpPr>
        <p:spPr>
          <a:xfrm>
            <a:off x="300038" y="3429000"/>
            <a:ext cx="5688012" cy="3095625"/>
          </a:xfrm>
          <a:ln>
            <a:noFill/>
          </a:ln>
        </p:spPr>
        <p:txBody>
          <a:bodyPr>
            <a:normAutofit/>
          </a:bodyPr>
          <a:lstStyle>
            <a:lvl1pPr marL="0" indent="0">
              <a:buNone/>
              <a:defRPr sz="1600" b="0" i="0">
                <a:solidFill>
                  <a:schemeClr val="bg1"/>
                </a:solidFill>
                <a:latin typeface="Montserrat" pitchFamily="2" charset="77"/>
              </a:defRPr>
            </a:lvl1pPr>
            <a:lvl2pPr marL="457200" indent="0">
              <a:buNone/>
              <a:defRPr sz="1400" b="0" i="0">
                <a:solidFill>
                  <a:schemeClr val="bg1"/>
                </a:solidFill>
                <a:latin typeface="Montserrat" pitchFamily="2" charset="77"/>
              </a:defRPr>
            </a:lvl2pPr>
            <a:lvl3pPr marL="914400" indent="0">
              <a:buNone/>
              <a:defRPr sz="1200" b="0" i="0">
                <a:solidFill>
                  <a:schemeClr val="bg1"/>
                </a:solidFill>
                <a:latin typeface="Montserrat" pitchFamily="2" charset="77"/>
              </a:defRPr>
            </a:lvl3pPr>
            <a:lvl4pPr marL="1371600" indent="0">
              <a:buNone/>
              <a:defRPr sz="1100" b="0" i="0">
                <a:solidFill>
                  <a:schemeClr val="bg1"/>
                </a:solidFill>
                <a:latin typeface="Montserrat" pitchFamily="2" charset="77"/>
              </a:defRPr>
            </a:lvl4pPr>
            <a:lvl5pPr marL="1828800" indent="0">
              <a:buNone/>
              <a:defRPr sz="110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pic>
        <p:nvPicPr>
          <p:cNvPr id="4" name="Imagen 3">
            <a:extLst>
              <a:ext uri="{FF2B5EF4-FFF2-40B4-BE49-F238E27FC236}">
                <a16:creationId xmlns:a16="http://schemas.microsoft.com/office/drawing/2014/main" id="{69964933-32BF-C345-208E-366F02783D0E}"/>
              </a:ext>
            </a:extLst>
          </p:cNvPr>
          <p:cNvPicPr>
            <a:picLocks noChangeAspect="1"/>
          </p:cNvPicPr>
          <p:nvPr userDrawn="1"/>
        </p:nvPicPr>
        <p:blipFill>
          <a:blip r:embed="rId3"/>
          <a:srcRect/>
          <a:stretch/>
        </p:blipFill>
        <p:spPr>
          <a:xfrm>
            <a:off x="8204295" y="322008"/>
            <a:ext cx="3625881" cy="837643"/>
          </a:xfrm>
          <a:prstGeom prst="rect">
            <a:avLst/>
          </a:prstGeom>
        </p:spPr>
      </p:pic>
    </p:spTree>
    <p:extLst>
      <p:ext uri="{BB962C8B-B14F-4D97-AF65-F5344CB8AC3E}">
        <p14:creationId xmlns:p14="http://schemas.microsoft.com/office/powerpoint/2010/main" val="36318304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ortada 1">
    <p:spTree>
      <p:nvGrpSpPr>
        <p:cNvPr id="1" name=""/>
        <p:cNvGrpSpPr/>
        <p:nvPr/>
      </p:nvGrpSpPr>
      <p:grpSpPr>
        <a:xfrm>
          <a:off x="0" y="0"/>
          <a:ext cx="0" cy="0"/>
          <a:chOff x="0" y="0"/>
          <a:chExt cx="0" cy="0"/>
        </a:xfrm>
      </p:grpSpPr>
      <p:sp>
        <p:nvSpPr>
          <p:cNvPr id="8" name="Rectángulo 7">
            <a:extLst>
              <a:ext uri="{FF2B5EF4-FFF2-40B4-BE49-F238E27FC236}">
                <a16:creationId xmlns:a16="http://schemas.microsoft.com/office/drawing/2014/main" id="{415650C6-2F50-6BCD-3132-6F0E3AC3869B}"/>
              </a:ext>
            </a:extLst>
          </p:cNvPr>
          <p:cNvSpPr/>
          <p:nvPr userDrawn="1"/>
        </p:nvSpPr>
        <p:spPr>
          <a:xfrm>
            <a:off x="0" y="0"/>
            <a:ext cx="12192000" cy="6858000"/>
          </a:xfrm>
          <a:prstGeom prst="rect">
            <a:avLst/>
          </a:prstGeom>
          <a:solidFill>
            <a:srgbClr val="1E1D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13" name="Imagen 12">
            <a:extLst>
              <a:ext uri="{FF2B5EF4-FFF2-40B4-BE49-F238E27FC236}">
                <a16:creationId xmlns:a16="http://schemas.microsoft.com/office/drawing/2014/main" id="{B0BD5904-CD8C-69CA-6232-EE8DBBEC12D6}"/>
              </a:ext>
            </a:extLst>
          </p:cNvPr>
          <p:cNvPicPr>
            <a:picLocks noChangeAspect="1"/>
          </p:cNvPicPr>
          <p:nvPr userDrawn="1"/>
        </p:nvPicPr>
        <p:blipFill rotWithShape="1">
          <a:blip r:embed="rId2"/>
          <a:srcRect l="24915" r="32167"/>
          <a:stretch/>
        </p:blipFill>
        <p:spPr>
          <a:xfrm>
            <a:off x="0" y="0"/>
            <a:ext cx="4409440" cy="6858000"/>
          </a:xfrm>
          <a:prstGeom prst="rect">
            <a:avLst/>
          </a:prstGeom>
        </p:spPr>
      </p:pic>
      <p:sp>
        <p:nvSpPr>
          <p:cNvPr id="2" name="Título 1">
            <a:extLst>
              <a:ext uri="{FF2B5EF4-FFF2-40B4-BE49-F238E27FC236}">
                <a16:creationId xmlns:a16="http://schemas.microsoft.com/office/drawing/2014/main" id="{6128F235-2977-E610-BAAA-E0B43DA46DB0}"/>
              </a:ext>
            </a:extLst>
          </p:cNvPr>
          <p:cNvSpPr>
            <a:spLocks noGrp="1"/>
          </p:cNvSpPr>
          <p:nvPr>
            <p:ph type="ctrTitle" hasCustomPrompt="1"/>
          </p:nvPr>
        </p:nvSpPr>
        <p:spPr>
          <a:xfrm>
            <a:off x="4846321" y="1444370"/>
            <a:ext cx="5913119" cy="1266983"/>
          </a:xfrm>
        </p:spPr>
        <p:txBody>
          <a:bodyPr anchor="b">
            <a:normAutofit/>
          </a:bodyPr>
          <a:lstStyle>
            <a:lvl1pPr algn="l">
              <a:defRPr sz="3600" b="0" i="0">
                <a:solidFill>
                  <a:schemeClr val="bg1"/>
                </a:solidFill>
                <a:latin typeface="Montserrat" pitchFamily="2" charset="77"/>
              </a:defRPr>
            </a:lvl1pPr>
          </a:lstStyle>
          <a:p>
            <a:r>
              <a:rPr lang="es-MX" dirty="0"/>
              <a:t>Haz clic para modificar el título</a:t>
            </a:r>
            <a:endParaRPr lang="es-CL" dirty="0"/>
          </a:p>
        </p:txBody>
      </p:sp>
      <p:sp>
        <p:nvSpPr>
          <p:cNvPr id="3" name="Subtítulo 2">
            <a:extLst>
              <a:ext uri="{FF2B5EF4-FFF2-40B4-BE49-F238E27FC236}">
                <a16:creationId xmlns:a16="http://schemas.microsoft.com/office/drawing/2014/main" id="{14CBA7F7-43CA-5018-7690-FD3AF7873EEC}"/>
              </a:ext>
            </a:extLst>
          </p:cNvPr>
          <p:cNvSpPr>
            <a:spLocks noGrp="1"/>
          </p:cNvSpPr>
          <p:nvPr>
            <p:ph type="subTitle" idx="1" hasCustomPrompt="1"/>
          </p:nvPr>
        </p:nvSpPr>
        <p:spPr>
          <a:xfrm>
            <a:off x="4846321" y="2740642"/>
            <a:ext cx="5913119" cy="688358"/>
          </a:xfrm>
        </p:spPr>
        <p:txBody>
          <a:bodyPr>
            <a:normAutofit/>
          </a:bodyPr>
          <a:lstStyle>
            <a:lvl1pPr marL="0" indent="0" algn="l">
              <a:buNone/>
              <a:defRPr sz="2000" b="1" i="0">
                <a:solidFill>
                  <a:srgbClr val="D70F26"/>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MX" dirty="0"/>
              <a:t>Haz clic para editar el subtítulo</a:t>
            </a:r>
            <a:endParaRPr lang="es-CL" dirty="0"/>
          </a:p>
        </p:txBody>
      </p:sp>
      <p:sp>
        <p:nvSpPr>
          <p:cNvPr id="5" name="Marcador de texto 4">
            <a:extLst>
              <a:ext uri="{FF2B5EF4-FFF2-40B4-BE49-F238E27FC236}">
                <a16:creationId xmlns:a16="http://schemas.microsoft.com/office/drawing/2014/main" id="{F12D0A55-0853-0417-C7CB-E128878248CD}"/>
              </a:ext>
            </a:extLst>
          </p:cNvPr>
          <p:cNvSpPr>
            <a:spLocks noGrp="1"/>
          </p:cNvSpPr>
          <p:nvPr>
            <p:ph type="body" sz="quarter" idx="10"/>
          </p:nvPr>
        </p:nvSpPr>
        <p:spPr>
          <a:xfrm>
            <a:off x="4846321" y="3556000"/>
            <a:ext cx="5913119" cy="2499360"/>
          </a:xfrm>
        </p:spPr>
        <p:txBody>
          <a:bodyPr>
            <a:normAutofit/>
          </a:bodyPr>
          <a:lstStyle>
            <a:lvl1pPr marL="0" indent="0">
              <a:buNone/>
              <a:defRPr sz="1400" b="0" i="0">
                <a:solidFill>
                  <a:schemeClr val="bg1"/>
                </a:solidFill>
                <a:latin typeface="Montserrat" pitchFamily="2" charset="77"/>
              </a:defRPr>
            </a:lvl1pPr>
            <a:lvl2pPr marL="457200" indent="0">
              <a:buNone/>
              <a:defRPr sz="1200" b="0" i="0">
                <a:solidFill>
                  <a:schemeClr val="bg1"/>
                </a:solidFill>
                <a:latin typeface="Montserrat" pitchFamily="2" charset="77"/>
              </a:defRPr>
            </a:lvl2pPr>
            <a:lvl3pPr marL="914400" indent="0">
              <a:buNone/>
              <a:defRPr sz="1100" b="0" i="0">
                <a:solidFill>
                  <a:schemeClr val="bg1"/>
                </a:solidFill>
                <a:latin typeface="Montserrat" pitchFamily="2" charset="77"/>
              </a:defRPr>
            </a:lvl3pPr>
            <a:lvl4pPr marL="1371600" indent="0">
              <a:buNone/>
              <a:defRPr sz="1050" b="0" i="0">
                <a:solidFill>
                  <a:schemeClr val="bg1"/>
                </a:solidFill>
                <a:latin typeface="Montserrat" pitchFamily="2" charset="77"/>
              </a:defRPr>
            </a:lvl4pPr>
            <a:lvl5pPr marL="1828800" indent="0">
              <a:buNone/>
              <a:defRPr sz="1050" b="0" i="0">
                <a:solidFill>
                  <a:schemeClr val="bg1"/>
                </a:solidFill>
                <a:latin typeface="Montserrat" pitchFamily="2" charset="77"/>
              </a:defRPr>
            </a:lvl5p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4" name="Rectángulo 3">
            <a:extLst>
              <a:ext uri="{FF2B5EF4-FFF2-40B4-BE49-F238E27FC236}">
                <a16:creationId xmlns:a16="http://schemas.microsoft.com/office/drawing/2014/main" id="{0BB0A4FF-012E-034A-237C-3D66E5E6B6E7}"/>
              </a:ext>
            </a:extLst>
          </p:cNvPr>
          <p:cNvSpPr/>
          <p:nvPr userDrawn="1"/>
        </p:nvSpPr>
        <p:spPr>
          <a:xfrm>
            <a:off x="1" y="5953760"/>
            <a:ext cx="904240" cy="904240"/>
          </a:xfrm>
          <a:prstGeom prst="rect">
            <a:avLst/>
          </a:prstGeom>
          <a:solidFill>
            <a:srgbClr val="D70F2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pic>
        <p:nvPicPr>
          <p:cNvPr id="6" name="Imagen 5">
            <a:extLst>
              <a:ext uri="{FF2B5EF4-FFF2-40B4-BE49-F238E27FC236}">
                <a16:creationId xmlns:a16="http://schemas.microsoft.com/office/drawing/2014/main" id="{DAE198EF-8CED-61E8-F1BF-53B4B8E27292}"/>
              </a:ext>
            </a:extLst>
          </p:cNvPr>
          <p:cNvPicPr>
            <a:picLocks noChangeAspect="1"/>
          </p:cNvPicPr>
          <p:nvPr userDrawn="1"/>
        </p:nvPicPr>
        <p:blipFill>
          <a:blip r:embed="rId3"/>
          <a:stretch>
            <a:fillRect/>
          </a:stretch>
        </p:blipFill>
        <p:spPr>
          <a:xfrm>
            <a:off x="8204295" y="322008"/>
            <a:ext cx="3625882" cy="837643"/>
          </a:xfrm>
          <a:prstGeom prst="rect">
            <a:avLst/>
          </a:prstGeom>
        </p:spPr>
      </p:pic>
    </p:spTree>
    <p:extLst>
      <p:ext uri="{BB962C8B-B14F-4D97-AF65-F5344CB8AC3E}">
        <p14:creationId xmlns:p14="http://schemas.microsoft.com/office/powerpoint/2010/main" val="17498801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FBF492D-8844-2CB2-2CC5-CDFDFD40250B}"/>
              </a:ext>
            </a:extLst>
          </p:cNvPr>
          <p:cNvGraphicFramePr>
            <a:graphicFrameLocks noChangeAspect="1"/>
          </p:cNvGraphicFramePr>
          <p:nvPr userDrawn="1">
            <p:custDataLst>
              <p:tags r:id="rId43"/>
            </p:custDataLst>
            <p:extLst>
              <p:ext uri="{D42A27DB-BD31-4B8C-83A1-F6EECF244321}">
                <p14:modId xmlns:p14="http://schemas.microsoft.com/office/powerpoint/2010/main" val="454514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a de think-cell" r:id="rId44" imgW="404" imgH="405" progId="TCLayout.ActiveDocument.1">
                  <p:embed/>
                </p:oleObj>
              </mc:Choice>
              <mc:Fallback>
                <p:oleObj name="Diapositiva de think-cell" r:id="rId44" imgW="404" imgH="405" progId="TCLayout.ActiveDocument.1">
                  <p:embed/>
                  <p:pic>
                    <p:nvPicPr>
                      <p:cNvPr id="9" name="think-cell data - do not delete" hidden="1">
                        <a:extLst>
                          <a:ext uri="{FF2B5EF4-FFF2-40B4-BE49-F238E27FC236}">
                            <a16:creationId xmlns:a16="http://schemas.microsoft.com/office/drawing/2014/main" id="{AFBF492D-8844-2CB2-2CC5-CDFDFD40250B}"/>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4DBD9ED9-FD34-F48C-10EE-2C174DC287CF}"/>
              </a:ext>
            </a:extLst>
          </p:cNvPr>
          <p:cNvSpPr>
            <a:spLocks noGrp="1"/>
          </p:cNvSpPr>
          <p:nvPr>
            <p:ph type="title"/>
          </p:nvPr>
        </p:nvSpPr>
        <p:spPr>
          <a:xfrm>
            <a:off x="300038" y="692150"/>
            <a:ext cx="11591924" cy="998538"/>
          </a:xfrm>
          <a:prstGeom prst="rect">
            <a:avLst/>
          </a:prstGeom>
        </p:spPr>
        <p:txBody>
          <a:bodyPr vert="horz" lIns="91440" tIns="45720" rIns="91440" bIns="45720" rtlCol="0" anchor="ctr">
            <a:normAutofit/>
          </a:bodyPr>
          <a:lstStyle/>
          <a:p>
            <a:r>
              <a:rPr lang="es-MX" dirty="0"/>
              <a:t>Haz clic para modificar el estilo de título del patrón</a:t>
            </a:r>
            <a:endParaRPr lang="es-CL" dirty="0"/>
          </a:p>
        </p:txBody>
      </p:sp>
      <p:sp>
        <p:nvSpPr>
          <p:cNvPr id="3" name="Marcador de texto 2">
            <a:extLst>
              <a:ext uri="{FF2B5EF4-FFF2-40B4-BE49-F238E27FC236}">
                <a16:creationId xmlns:a16="http://schemas.microsoft.com/office/drawing/2014/main" id="{F4E3A9A0-BB73-3D6D-CE94-F8203E85FB3C}"/>
              </a:ext>
            </a:extLst>
          </p:cNvPr>
          <p:cNvSpPr>
            <a:spLocks noGrp="1"/>
          </p:cNvSpPr>
          <p:nvPr>
            <p:ph type="body" idx="1"/>
          </p:nvPr>
        </p:nvSpPr>
        <p:spPr>
          <a:xfrm>
            <a:off x="300037" y="1825625"/>
            <a:ext cx="11591925" cy="4351338"/>
          </a:xfrm>
          <a:prstGeom prst="rect">
            <a:avLst/>
          </a:prstGeom>
        </p:spPr>
        <p:txBody>
          <a:bodyPr vert="horz" lIns="91440" tIns="45720" rIns="91440" bIns="45720" rtlCol="0">
            <a:normAutofit/>
          </a:bodyPr>
          <a:lstStyle/>
          <a:p>
            <a:pPr lvl="0"/>
            <a:r>
              <a:rPr lang="es-MX" dirty="0"/>
              <a:t>Haga clic para modificar los estilos de texto del patrón</a:t>
            </a:r>
          </a:p>
          <a:p>
            <a:pPr lvl="1"/>
            <a:r>
              <a:rPr lang="es-MX" dirty="0"/>
              <a:t>Segundo nivel</a:t>
            </a:r>
          </a:p>
          <a:p>
            <a:pPr lvl="2"/>
            <a:r>
              <a:rPr lang="es-MX" dirty="0"/>
              <a:t>Tercer nivel</a:t>
            </a:r>
          </a:p>
          <a:p>
            <a:pPr lvl="3"/>
            <a:r>
              <a:rPr lang="es-MX" dirty="0"/>
              <a:t>Cuarto nivel</a:t>
            </a:r>
          </a:p>
          <a:p>
            <a:pPr lvl="4"/>
            <a:r>
              <a:rPr lang="es-MX" dirty="0"/>
              <a:t>Quinto nivel</a:t>
            </a:r>
            <a:endParaRPr lang="es-CL" dirty="0"/>
          </a:p>
        </p:txBody>
      </p:sp>
      <p:sp>
        <p:nvSpPr>
          <p:cNvPr id="4" name="Marcador de fecha 3">
            <a:extLst>
              <a:ext uri="{FF2B5EF4-FFF2-40B4-BE49-F238E27FC236}">
                <a16:creationId xmlns:a16="http://schemas.microsoft.com/office/drawing/2014/main" id="{50E900C3-B2C1-4480-725B-6C3406CD3F3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050">
                <a:solidFill>
                  <a:schemeClr val="tx1">
                    <a:tint val="82000"/>
                  </a:schemeClr>
                </a:solidFill>
                <a:latin typeface="Montserrat" pitchFamily="2" charset="77"/>
              </a:defRPr>
            </a:lvl1pPr>
          </a:lstStyle>
          <a:p>
            <a:fld id="{0B1EF07D-BED9-3548-A008-1CF913C30F63}" type="datetimeFigureOut">
              <a:rPr lang="es-CL" smtClean="0"/>
              <a:pPr/>
              <a:t>16-12-2024</a:t>
            </a:fld>
            <a:endParaRPr lang="es-CL"/>
          </a:p>
        </p:txBody>
      </p:sp>
      <p:sp>
        <p:nvSpPr>
          <p:cNvPr id="5" name="Marcador de pie de página 4">
            <a:extLst>
              <a:ext uri="{FF2B5EF4-FFF2-40B4-BE49-F238E27FC236}">
                <a16:creationId xmlns:a16="http://schemas.microsoft.com/office/drawing/2014/main" id="{52F42525-02B6-1B65-41C5-70DA50B9DB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50">
                <a:solidFill>
                  <a:schemeClr val="tx1">
                    <a:tint val="82000"/>
                  </a:schemeClr>
                </a:solidFill>
                <a:latin typeface="Montserrat" pitchFamily="2" charset="77"/>
              </a:defRPr>
            </a:lvl1pPr>
          </a:lstStyle>
          <a:p>
            <a:endParaRPr lang="es-CL"/>
          </a:p>
        </p:txBody>
      </p:sp>
      <p:sp>
        <p:nvSpPr>
          <p:cNvPr id="6" name="Marcador de número de diapositiva 5">
            <a:extLst>
              <a:ext uri="{FF2B5EF4-FFF2-40B4-BE49-F238E27FC236}">
                <a16:creationId xmlns:a16="http://schemas.microsoft.com/office/drawing/2014/main" id="{098621EC-1EDC-B7C2-6EB5-6317A5653B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050">
                <a:solidFill>
                  <a:schemeClr val="tx1">
                    <a:tint val="82000"/>
                  </a:schemeClr>
                </a:solidFill>
                <a:latin typeface="Montserrat" pitchFamily="2" charset="77"/>
              </a:defRPr>
            </a:lvl1pPr>
          </a:lstStyle>
          <a:p>
            <a:fld id="{9E39C139-2606-0A46-8C45-6ACC9860D0DC}" type="slidenum">
              <a:rPr lang="es-CL" smtClean="0"/>
              <a:pPr/>
              <a:t>‹Nº›</a:t>
            </a:fld>
            <a:endParaRPr lang="es-CL"/>
          </a:p>
        </p:txBody>
      </p:sp>
      <p:pic>
        <p:nvPicPr>
          <p:cNvPr id="8" name="Imagen 7">
            <a:extLst>
              <a:ext uri="{FF2B5EF4-FFF2-40B4-BE49-F238E27FC236}">
                <a16:creationId xmlns:a16="http://schemas.microsoft.com/office/drawing/2014/main" id="{F6321E47-E6B0-3680-1F1D-493D58CA0128}"/>
              </a:ext>
            </a:extLst>
          </p:cNvPr>
          <p:cNvPicPr>
            <a:picLocks noChangeAspect="1"/>
          </p:cNvPicPr>
          <p:nvPr userDrawn="1"/>
        </p:nvPicPr>
        <p:blipFill>
          <a:blip r:embed="rId46"/>
          <a:stretch>
            <a:fillRect/>
          </a:stretch>
        </p:blipFill>
        <p:spPr>
          <a:xfrm>
            <a:off x="10897547" y="62235"/>
            <a:ext cx="1062038" cy="374066"/>
          </a:xfrm>
          <a:prstGeom prst="rect">
            <a:avLst/>
          </a:prstGeom>
        </p:spPr>
      </p:pic>
    </p:spTree>
    <p:extLst>
      <p:ext uri="{BB962C8B-B14F-4D97-AF65-F5344CB8AC3E}">
        <p14:creationId xmlns:p14="http://schemas.microsoft.com/office/powerpoint/2010/main" val="149844272"/>
      </p:ext>
    </p:extLst>
  </p:cSld>
  <p:clrMap bg1="lt1" tx1="dk1" bg2="lt2" tx2="dk2" accent1="accent1" accent2="accent2" accent3="accent3" accent4="accent4" accent5="accent5" accent6="accent6" hlink="hlink" folHlink="folHlink"/>
  <p:sldLayoutIdLst>
    <p:sldLayoutId id="2147483649" r:id="rId1"/>
    <p:sldLayoutId id="2147483688" r:id="rId2"/>
    <p:sldLayoutId id="2147483671" r:id="rId3"/>
    <p:sldLayoutId id="2147483661" r:id="rId4"/>
    <p:sldLayoutId id="2147483662" r:id="rId5"/>
    <p:sldLayoutId id="2147483660" r:id="rId6"/>
    <p:sldLayoutId id="2147483665" r:id="rId7"/>
    <p:sldLayoutId id="2147483692" r:id="rId8"/>
    <p:sldLayoutId id="2147483666" r:id="rId9"/>
    <p:sldLayoutId id="2147483667" r:id="rId10"/>
    <p:sldLayoutId id="2147483691" r:id="rId11"/>
    <p:sldLayoutId id="2147483669" r:id="rId12"/>
    <p:sldLayoutId id="2147483689" r:id="rId13"/>
    <p:sldLayoutId id="2147483690" r:id="rId14"/>
    <p:sldLayoutId id="2147483686" r:id="rId15"/>
    <p:sldLayoutId id="2147483693" r:id="rId16"/>
    <p:sldLayoutId id="2147483668" r:id="rId17"/>
    <p:sldLayoutId id="2147483684" r:id="rId18"/>
    <p:sldLayoutId id="2147483685" r:id="rId19"/>
    <p:sldLayoutId id="2147483654" r:id="rId20"/>
    <p:sldLayoutId id="2147483673" r:id="rId21"/>
    <p:sldLayoutId id="2147483672" r:id="rId22"/>
    <p:sldLayoutId id="2147483674" r:id="rId23"/>
    <p:sldLayoutId id="2147483676" r:id="rId24"/>
    <p:sldLayoutId id="2147483663" r:id="rId25"/>
    <p:sldLayoutId id="2147483677" r:id="rId26"/>
    <p:sldLayoutId id="2147483675" r:id="rId27"/>
    <p:sldLayoutId id="2147483678" r:id="rId28"/>
    <p:sldLayoutId id="2147483679" r:id="rId29"/>
    <p:sldLayoutId id="2147483664" r:id="rId30"/>
    <p:sldLayoutId id="2147483680" r:id="rId31"/>
    <p:sldLayoutId id="2147483681" r:id="rId32"/>
    <p:sldLayoutId id="2147483682" r:id="rId33"/>
    <p:sldLayoutId id="2147483683" r:id="rId34"/>
    <p:sldLayoutId id="2147483670" r:id="rId35"/>
    <p:sldLayoutId id="2147483687" r:id="rId36"/>
    <p:sldLayoutId id="2147483650" r:id="rId37"/>
    <p:sldLayoutId id="2147483652" r:id="rId38"/>
    <p:sldLayoutId id="2147483655" r:id="rId39"/>
    <p:sldLayoutId id="2147483694" r:id="rId40"/>
  </p:sldLayoutIdLst>
  <p:txStyles>
    <p:titleStyle>
      <a:lvl1pPr algn="l" defTabSz="914400" rtl="0" eaLnBrk="1" latinLnBrk="0" hangingPunct="1">
        <a:lnSpc>
          <a:spcPct val="90000"/>
        </a:lnSpc>
        <a:spcBef>
          <a:spcPct val="0"/>
        </a:spcBef>
        <a:buNone/>
        <a:defRPr sz="2800" kern="1200">
          <a:solidFill>
            <a:schemeClr val="tx1"/>
          </a:solidFill>
          <a:latin typeface="Montserrat" pitchFamily="2" charset="77"/>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ontserrat" pitchFamily="2" charset="77"/>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ontserrat" pitchFamily="2" charset="77"/>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Montserrat" pitchFamily="2" charset="77"/>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100" kern="1200">
          <a:solidFill>
            <a:schemeClr val="tx1"/>
          </a:solidFill>
          <a:latin typeface="Montserrat" pitchFamily="2" charset="77"/>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10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89" userDrawn="1">
          <p15:clr>
            <a:srgbClr val="F26B43"/>
          </p15:clr>
        </p15:guide>
        <p15:guide id="4" pos="7491" userDrawn="1">
          <p15:clr>
            <a:srgbClr val="F26B43"/>
          </p15:clr>
        </p15:guide>
        <p15:guide id="5" orient="horz" pos="436" userDrawn="1">
          <p15:clr>
            <a:srgbClr val="F26B43"/>
          </p15:clr>
        </p15:guide>
        <p15:guide id="6" orient="horz" pos="4110" userDrawn="1">
          <p15:clr>
            <a:srgbClr val="F26B43"/>
          </p15:clr>
        </p15:guide>
        <p15:guide id="7" pos="3772" userDrawn="1">
          <p15:clr>
            <a:srgbClr val="F26B43"/>
          </p15:clr>
        </p15:guide>
        <p15:guide id="8" pos="3908" userDrawn="1">
          <p15:clr>
            <a:srgbClr val="F26B43"/>
          </p15:clr>
        </p15:guide>
        <p15:guide id="9" orient="horz" pos="2092" userDrawn="1">
          <p15:clr>
            <a:srgbClr val="F26B43"/>
          </p15:clr>
        </p15:guide>
        <p15:guide id="10" orient="horz" pos="222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62.png"/><Relationship Id="rId13" Type="http://schemas.microsoft.com/office/2007/relationships/hdphoto" Target="../media/hdphoto1.wdp"/><Relationship Id="rId3" Type="http://schemas.openxmlformats.org/officeDocument/2006/relationships/slideLayout" Target="../slideLayouts/slideLayout24.xml"/><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60.emf"/><Relationship Id="rId11" Type="http://schemas.openxmlformats.org/officeDocument/2006/relationships/image" Target="../media/image65.png"/><Relationship Id="rId5" Type="http://schemas.openxmlformats.org/officeDocument/2006/relationships/oleObject" Target="../embeddings/oleObject11.bin"/><Relationship Id="rId10" Type="http://schemas.openxmlformats.org/officeDocument/2006/relationships/image" Target="../media/image64.png"/><Relationship Id="rId4" Type="http://schemas.openxmlformats.org/officeDocument/2006/relationships/notesSlide" Target="../notesSlides/notesSlide5.xml"/><Relationship Id="rId9" Type="http://schemas.openxmlformats.org/officeDocument/2006/relationships/image" Target="../media/image63.png"/><Relationship Id="rId14" Type="http://schemas.openxmlformats.org/officeDocument/2006/relationships/image" Target="../media/image67.png"/></Relationships>
</file>

<file path=ppt/slides/_rels/slide11.xml.rels><?xml version="1.0" encoding="UTF-8" standalone="yes"?>
<Relationships xmlns="http://schemas.openxmlformats.org/package/2006/relationships"><Relationship Id="rId8" Type="http://schemas.openxmlformats.org/officeDocument/2006/relationships/image" Target="../media/image62.png"/><Relationship Id="rId13" Type="http://schemas.microsoft.com/office/2007/relationships/hdphoto" Target="../media/hdphoto1.wdp"/><Relationship Id="rId3" Type="http://schemas.openxmlformats.org/officeDocument/2006/relationships/slideLayout" Target="../slideLayouts/slideLayout24.xml"/><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60.emf"/><Relationship Id="rId11" Type="http://schemas.openxmlformats.org/officeDocument/2006/relationships/image" Target="../media/image65.png"/><Relationship Id="rId5" Type="http://schemas.openxmlformats.org/officeDocument/2006/relationships/oleObject" Target="../embeddings/oleObject12.bin"/><Relationship Id="rId15" Type="http://schemas.openxmlformats.org/officeDocument/2006/relationships/image" Target="../media/image69.png"/><Relationship Id="rId10" Type="http://schemas.openxmlformats.org/officeDocument/2006/relationships/image" Target="../media/image64.png"/><Relationship Id="rId4" Type="http://schemas.openxmlformats.org/officeDocument/2006/relationships/notesSlide" Target="../notesSlides/notesSlide6.xml"/><Relationship Id="rId9" Type="http://schemas.openxmlformats.org/officeDocument/2006/relationships/image" Target="../media/image63.png"/><Relationship Id="rId14" Type="http://schemas.openxmlformats.org/officeDocument/2006/relationships/image" Target="../media/image68.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9.emf"/><Relationship Id="rId5" Type="http://schemas.openxmlformats.org/officeDocument/2006/relationships/oleObject" Target="../embeddings/oleObject13.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5.jpeg"/><Relationship Id="rId18" Type="http://schemas.openxmlformats.org/officeDocument/2006/relationships/image" Target="../media/image40.png"/><Relationship Id="rId3" Type="http://schemas.openxmlformats.org/officeDocument/2006/relationships/slideLayout" Target="../slideLayouts/slideLayout24.xml"/><Relationship Id="rId7" Type="http://schemas.openxmlformats.org/officeDocument/2006/relationships/image" Target="../media/image30.png"/><Relationship Id="rId12" Type="http://schemas.openxmlformats.org/officeDocument/2006/relationships/image" Target="../media/image34.jpeg"/><Relationship Id="rId17" Type="http://schemas.openxmlformats.org/officeDocument/2006/relationships/image" Target="../media/image39.jpeg"/><Relationship Id="rId2" Type="http://schemas.openxmlformats.org/officeDocument/2006/relationships/tags" Target="../tags/tag5.xml"/><Relationship Id="rId16" Type="http://schemas.openxmlformats.org/officeDocument/2006/relationships/image" Target="../media/image38.jpeg"/><Relationship Id="rId1" Type="http://schemas.openxmlformats.org/officeDocument/2006/relationships/vmlDrawing" Target="../drawings/vmlDrawing5.vml"/><Relationship Id="rId6" Type="http://schemas.openxmlformats.org/officeDocument/2006/relationships/image" Target="../media/image29.emf"/><Relationship Id="rId11" Type="http://schemas.openxmlformats.org/officeDocument/2006/relationships/image" Target="../media/image33.jpeg"/><Relationship Id="rId5" Type="http://schemas.openxmlformats.org/officeDocument/2006/relationships/oleObject" Target="../embeddings/oleObject5.bin"/><Relationship Id="rId15" Type="http://schemas.openxmlformats.org/officeDocument/2006/relationships/image" Target="../media/image37.jpeg"/><Relationship Id="rId10" Type="http://schemas.openxmlformats.org/officeDocument/2006/relationships/image" Target="../media/image32.jpeg"/><Relationship Id="rId4" Type="http://schemas.openxmlformats.org/officeDocument/2006/relationships/notesSlide" Target="../notesSlides/notesSlide1.xml"/><Relationship Id="rId9" Type="http://schemas.openxmlformats.org/officeDocument/2006/relationships/image" Target="../media/image31.jpeg"/><Relationship Id="rId14" Type="http://schemas.openxmlformats.org/officeDocument/2006/relationships/image" Target="../media/image36.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slideLayout" Target="../slideLayouts/slideLayout24.xml"/><Relationship Id="rId7" Type="http://schemas.openxmlformats.org/officeDocument/2006/relationships/image" Target="../media/image41.jpe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9.emf"/><Relationship Id="rId5" Type="http://schemas.openxmlformats.org/officeDocument/2006/relationships/oleObject" Target="../embeddings/oleObject7.bin"/><Relationship Id="rId10" Type="http://schemas.openxmlformats.org/officeDocument/2006/relationships/image" Target="../media/image44.jpeg"/><Relationship Id="rId4" Type="http://schemas.openxmlformats.org/officeDocument/2006/relationships/notesSlide" Target="../notesSlides/notesSlide2.xml"/><Relationship Id="rId9" Type="http://schemas.openxmlformats.org/officeDocument/2006/relationships/image" Target="../media/image43.jpeg"/></Relationships>
</file>

<file path=ppt/slides/_rels/slide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24.xml"/><Relationship Id="rId7" Type="http://schemas.openxmlformats.org/officeDocument/2006/relationships/image" Target="../media/image45.jpeg"/><Relationship Id="rId12" Type="http://schemas.openxmlformats.org/officeDocument/2006/relationships/image" Target="../media/image50.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9.emf"/><Relationship Id="rId11" Type="http://schemas.openxmlformats.org/officeDocument/2006/relationships/image" Target="../media/image49.jpeg"/><Relationship Id="rId5" Type="http://schemas.openxmlformats.org/officeDocument/2006/relationships/oleObject" Target="../embeddings/oleObject8.bin"/><Relationship Id="rId10" Type="http://schemas.openxmlformats.org/officeDocument/2006/relationships/image" Target="../media/image48.jpeg"/><Relationship Id="rId4" Type="http://schemas.openxmlformats.org/officeDocument/2006/relationships/notesSlide" Target="../notesSlides/notesSlide3.xml"/><Relationship Id="rId9" Type="http://schemas.openxmlformats.org/officeDocument/2006/relationships/image" Target="../media/image47.jpeg"/></Relationships>
</file>

<file path=ppt/slides/_rels/slide8.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slideLayout" Target="../slideLayouts/slideLayout24.xml"/><Relationship Id="rId7" Type="http://schemas.openxmlformats.org/officeDocument/2006/relationships/image" Target="../media/image51.png"/><Relationship Id="rId12" Type="http://schemas.openxmlformats.org/officeDocument/2006/relationships/image" Target="../media/image57.sv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9.emf"/><Relationship Id="rId11" Type="http://schemas.openxmlformats.org/officeDocument/2006/relationships/image" Target="../media/image53.png"/><Relationship Id="rId5" Type="http://schemas.openxmlformats.org/officeDocument/2006/relationships/oleObject" Target="../embeddings/oleObject9.bin"/><Relationship Id="rId10" Type="http://schemas.openxmlformats.org/officeDocument/2006/relationships/image" Target="../media/image55.svg"/><Relationship Id="rId4" Type="http://schemas.openxmlformats.org/officeDocument/2006/relationships/notesSlide" Target="../notesSlides/notesSlide4.xml"/><Relationship Id="rId9" Type="http://schemas.openxmlformats.org/officeDocument/2006/relationships/image" Target="../media/image52.png"/></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png"/><Relationship Id="rId3" Type="http://schemas.openxmlformats.org/officeDocument/2006/relationships/slideLayout" Target="../slideLayouts/slideLayout20.xml"/><Relationship Id="rId7" Type="http://schemas.openxmlformats.org/officeDocument/2006/relationships/image" Target="../media/image55.png"/><Relationship Id="rId12" Type="http://schemas.openxmlformats.org/officeDocument/2006/relationships/image" Target="../media/image64.sv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54.png"/><Relationship Id="rId11" Type="http://schemas.openxmlformats.org/officeDocument/2006/relationships/image" Target="../media/image58.png"/><Relationship Id="rId5" Type="http://schemas.openxmlformats.org/officeDocument/2006/relationships/image" Target="../media/image1.emf"/><Relationship Id="rId10" Type="http://schemas.openxmlformats.org/officeDocument/2006/relationships/image" Target="../media/image62.svg"/><Relationship Id="rId4" Type="http://schemas.openxmlformats.org/officeDocument/2006/relationships/oleObject" Target="../embeddings/oleObject10.bin"/><Relationship Id="rId9" Type="http://schemas.openxmlformats.org/officeDocument/2006/relationships/image" Target="../media/image57.png"/><Relationship Id="rId14" Type="http://schemas.openxmlformats.org/officeDocument/2006/relationships/image" Target="../media/image6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6F1A7B-2542-80AA-59C6-531215C26A26}"/>
              </a:ext>
            </a:extLst>
          </p:cNvPr>
          <p:cNvGraphicFramePr>
            <a:graphicFrameLocks noChangeAspect="1"/>
          </p:cNvGraphicFramePr>
          <p:nvPr>
            <p:custDataLst>
              <p:tags r:id="rId2"/>
            </p:custDataLst>
            <p:extLst>
              <p:ext uri="{D42A27DB-BD31-4B8C-83A1-F6EECF244321}">
                <p14:modId xmlns:p14="http://schemas.microsoft.com/office/powerpoint/2010/main" val="1520681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Diapositiva de think-cell" r:id="rId4" imgW="404" imgH="405" progId="TCLayout.ActiveDocument.1">
                  <p:embed/>
                </p:oleObj>
              </mc:Choice>
              <mc:Fallback>
                <p:oleObj name="Diapositiva de think-cell" r:id="rId4" imgW="404" imgH="405" progId="TCLayout.ActiveDocument.1">
                  <p:embed/>
                  <p:pic>
                    <p:nvPicPr>
                      <p:cNvPr id="5" name="think-cell data - do not delete" hidden="1">
                        <a:extLst>
                          <a:ext uri="{FF2B5EF4-FFF2-40B4-BE49-F238E27FC236}">
                            <a16:creationId xmlns:a16="http://schemas.microsoft.com/office/drawing/2014/main" id="{4D6F1A7B-2542-80AA-59C6-531215C26A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345EA29A-0E7D-BE67-1C51-22F76235AC50}"/>
              </a:ext>
            </a:extLst>
          </p:cNvPr>
          <p:cNvSpPr>
            <a:spLocks noGrp="1"/>
          </p:cNvSpPr>
          <p:nvPr>
            <p:ph type="ctrTitle"/>
          </p:nvPr>
        </p:nvSpPr>
        <p:spPr>
          <a:xfrm>
            <a:off x="300039" y="1444370"/>
            <a:ext cx="5885608" cy="1266983"/>
          </a:xfrm>
        </p:spPr>
        <p:txBody>
          <a:bodyPr vert="horz"/>
          <a:lstStyle/>
          <a:p>
            <a:r>
              <a:rPr lang="es-CL" dirty="0"/>
              <a:t>Modernización de la Red</a:t>
            </a:r>
          </a:p>
        </p:txBody>
      </p:sp>
      <p:sp>
        <p:nvSpPr>
          <p:cNvPr id="3" name="Subtítulo 2">
            <a:extLst>
              <a:ext uri="{FF2B5EF4-FFF2-40B4-BE49-F238E27FC236}">
                <a16:creationId xmlns:a16="http://schemas.microsoft.com/office/drawing/2014/main" id="{BCD24668-E7EC-A939-7718-21784CC67EC2}"/>
              </a:ext>
            </a:extLst>
          </p:cNvPr>
          <p:cNvSpPr>
            <a:spLocks noGrp="1"/>
          </p:cNvSpPr>
          <p:nvPr>
            <p:ph type="subTitle" idx="1"/>
          </p:nvPr>
        </p:nvSpPr>
        <p:spPr/>
        <p:txBody>
          <a:bodyPr/>
          <a:lstStyle/>
          <a:p>
            <a:r>
              <a:rPr lang="es-CL" dirty="0"/>
              <a:t>Metro de Santiago S.A.</a:t>
            </a:r>
          </a:p>
          <a:p>
            <a:r>
              <a:rPr lang="es-CL" dirty="0"/>
              <a:t>Noviembre 2024</a:t>
            </a:r>
          </a:p>
        </p:txBody>
      </p:sp>
    </p:spTree>
    <p:extLst>
      <p:ext uri="{BB962C8B-B14F-4D97-AF65-F5344CB8AC3E}">
        <p14:creationId xmlns:p14="http://schemas.microsoft.com/office/powerpoint/2010/main" val="41585815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B20BB-06E0-00A5-E74C-8C931EDADAC3}"/>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8BE3E639-F917-A4E8-6460-8763A4EFA62D}"/>
              </a:ext>
            </a:extLst>
          </p:cNvPr>
          <p:cNvGraphicFramePr>
            <a:graphicFrameLocks noChangeAspect="1"/>
          </p:cNvGraphicFramePr>
          <p:nvPr>
            <p:custDataLst>
              <p:tags r:id="rId2"/>
            </p:custDataLst>
            <p:extLst>
              <p:ext uri="{D42A27DB-BD31-4B8C-83A1-F6EECF244321}">
                <p14:modId xmlns:p14="http://schemas.microsoft.com/office/powerpoint/2010/main" val="1542614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Diapositiva de think-cell" r:id="rId5" imgW="395" imgH="396" progId="TCLayout.ActiveDocument.1">
                  <p:embed/>
                </p:oleObj>
              </mc:Choice>
              <mc:Fallback>
                <p:oleObj name="Diapositiva de think-cell" r:id="rId5" imgW="395" imgH="396" progId="TCLayout.ActiveDocument.1">
                  <p:embed/>
                  <p:pic>
                    <p:nvPicPr>
                      <p:cNvPr id="5" name="Objeto 4" hidden="1">
                        <a:extLst>
                          <a:ext uri="{FF2B5EF4-FFF2-40B4-BE49-F238E27FC236}">
                            <a16:creationId xmlns:a16="http://schemas.microsoft.com/office/drawing/2014/main" id="{8BE3E639-F917-A4E8-6460-8763A4EFA6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2" name="Grupo 31">
            <a:extLst>
              <a:ext uri="{FF2B5EF4-FFF2-40B4-BE49-F238E27FC236}">
                <a16:creationId xmlns:a16="http://schemas.microsoft.com/office/drawing/2014/main" id="{2619E410-16BE-75FE-959F-D5879996921B}"/>
              </a:ext>
            </a:extLst>
          </p:cNvPr>
          <p:cNvGrpSpPr/>
          <p:nvPr/>
        </p:nvGrpSpPr>
        <p:grpSpPr>
          <a:xfrm>
            <a:off x="211404" y="583741"/>
            <a:ext cx="3799129" cy="1402062"/>
            <a:chOff x="1089060" y="282791"/>
            <a:chExt cx="4479533" cy="2242898"/>
          </a:xfrm>
        </p:grpSpPr>
        <p:sp>
          <p:nvSpPr>
            <p:cNvPr id="33" name="Rectángulo: esquinas redondeadas 32">
              <a:extLst>
                <a:ext uri="{FF2B5EF4-FFF2-40B4-BE49-F238E27FC236}">
                  <a16:creationId xmlns:a16="http://schemas.microsoft.com/office/drawing/2014/main" id="{34F384B9-DA1B-FADF-D117-EEA9E6ADCA33}"/>
                </a:ext>
              </a:extLst>
            </p:cNvPr>
            <p:cNvSpPr/>
            <p:nvPr/>
          </p:nvSpPr>
          <p:spPr>
            <a:xfrm>
              <a:off x="1089060" y="282791"/>
              <a:ext cx="4479533" cy="2242898"/>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34" name="Rectángulo: esquinas redondeadas 33">
              <a:extLst>
                <a:ext uri="{FF2B5EF4-FFF2-40B4-BE49-F238E27FC236}">
                  <a16:creationId xmlns:a16="http://schemas.microsoft.com/office/drawing/2014/main" id="{ADFD6706-BAEA-BD72-1CA3-074BA213EF8D}"/>
                </a:ext>
              </a:extLst>
            </p:cNvPr>
            <p:cNvSpPr/>
            <p:nvPr/>
          </p:nvSpPr>
          <p:spPr>
            <a:xfrm>
              <a:off x="1212350" y="403685"/>
              <a:ext cx="4232952" cy="200338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38" name="CuadroTexto 37">
              <a:extLst>
                <a:ext uri="{FF2B5EF4-FFF2-40B4-BE49-F238E27FC236}">
                  <a16:creationId xmlns:a16="http://schemas.microsoft.com/office/drawing/2014/main" id="{6BDB4EB9-F590-445E-F94A-B10B59798D50}"/>
                </a:ext>
              </a:extLst>
            </p:cNvPr>
            <p:cNvSpPr txBox="1"/>
            <p:nvPr/>
          </p:nvSpPr>
          <p:spPr>
            <a:xfrm>
              <a:off x="1275230" y="728131"/>
              <a:ext cx="4096651" cy="1329357"/>
            </a:xfrm>
            <a:prstGeom prst="rect">
              <a:avLst/>
            </a:prstGeom>
            <a:noFill/>
          </p:spPr>
          <p:txBody>
            <a:bodyPr wrap="square">
              <a:spAutoFit/>
            </a:bodyPr>
            <a:lstStyle/>
            <a:p>
              <a:pPr algn="ctr"/>
              <a:r>
                <a:rPr kumimoji="0" lang="es-CL" sz="1600" b="1" i="0" u="none" strike="noStrike" kern="1200" cap="none" spc="0" normalizeH="0" baseline="0" noProof="0" dirty="0">
                  <a:ln>
                    <a:noFill/>
                  </a:ln>
                  <a:effectLst/>
                  <a:uLnTx/>
                  <a:uFillTx/>
                  <a:latin typeface="Montserrat" panose="00000500000000000000" pitchFamily="2" charset="0"/>
                </a:rPr>
                <a:t>De 59 iniciativas priorizadas se desarrollan actualmente las siguientes:</a:t>
              </a:r>
            </a:p>
          </p:txBody>
        </p:sp>
      </p:grpSp>
      <p:sp>
        <p:nvSpPr>
          <p:cNvPr id="26" name="Rectángulo: esquinas redondeadas 25">
            <a:extLst>
              <a:ext uri="{FF2B5EF4-FFF2-40B4-BE49-F238E27FC236}">
                <a16:creationId xmlns:a16="http://schemas.microsoft.com/office/drawing/2014/main" id="{B8BD0C1C-0543-9A7C-AD7D-F49099D4AF93}"/>
              </a:ext>
            </a:extLst>
          </p:cNvPr>
          <p:cNvSpPr/>
          <p:nvPr/>
        </p:nvSpPr>
        <p:spPr>
          <a:xfrm>
            <a:off x="1054092" y="5517274"/>
            <a:ext cx="3269396" cy="461665"/>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22" name="Rectángulo: esquinas redondeadas 21">
            <a:extLst>
              <a:ext uri="{FF2B5EF4-FFF2-40B4-BE49-F238E27FC236}">
                <a16:creationId xmlns:a16="http://schemas.microsoft.com/office/drawing/2014/main" id="{5E5F70A2-B127-BC12-A3F6-7A36FC9E7E85}"/>
              </a:ext>
            </a:extLst>
          </p:cNvPr>
          <p:cNvSpPr/>
          <p:nvPr/>
        </p:nvSpPr>
        <p:spPr>
          <a:xfrm>
            <a:off x="8217096" y="5115029"/>
            <a:ext cx="3694679" cy="1023814"/>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20" name="Rectángulo: esquinas redondeadas 19">
            <a:extLst>
              <a:ext uri="{FF2B5EF4-FFF2-40B4-BE49-F238E27FC236}">
                <a16:creationId xmlns:a16="http://schemas.microsoft.com/office/drawing/2014/main" id="{E0167C09-5F07-04B7-B90C-8DDAD8A6E7E9}"/>
              </a:ext>
            </a:extLst>
          </p:cNvPr>
          <p:cNvSpPr/>
          <p:nvPr/>
        </p:nvSpPr>
        <p:spPr>
          <a:xfrm>
            <a:off x="8730027" y="2975921"/>
            <a:ext cx="3200282" cy="748646"/>
          </a:xfrm>
          <a:prstGeom prst="roundRect">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4" name="Rectángulo: esquinas redondeadas 3">
            <a:extLst>
              <a:ext uri="{FF2B5EF4-FFF2-40B4-BE49-F238E27FC236}">
                <a16:creationId xmlns:a16="http://schemas.microsoft.com/office/drawing/2014/main" id="{46535489-60DE-A06D-F2F4-A14C1C85B2BF}"/>
              </a:ext>
            </a:extLst>
          </p:cNvPr>
          <p:cNvSpPr/>
          <p:nvPr/>
        </p:nvSpPr>
        <p:spPr>
          <a:xfrm>
            <a:off x="6802007" y="1531865"/>
            <a:ext cx="3141759" cy="626734"/>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66" name="Rectángulo: esquinas redondeadas 65">
            <a:extLst>
              <a:ext uri="{FF2B5EF4-FFF2-40B4-BE49-F238E27FC236}">
                <a16:creationId xmlns:a16="http://schemas.microsoft.com/office/drawing/2014/main" id="{2F401B7C-3B25-8952-547B-35E60C1E2CE5}"/>
              </a:ext>
            </a:extLst>
          </p:cNvPr>
          <p:cNvSpPr/>
          <p:nvPr/>
        </p:nvSpPr>
        <p:spPr>
          <a:xfrm>
            <a:off x="718814" y="4101591"/>
            <a:ext cx="2929124" cy="588377"/>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7" name="Círculo: vacío 6">
            <a:extLst>
              <a:ext uri="{FF2B5EF4-FFF2-40B4-BE49-F238E27FC236}">
                <a16:creationId xmlns:a16="http://schemas.microsoft.com/office/drawing/2014/main" id="{F264855A-952A-4866-DF0B-3D0D9625C0F1}"/>
              </a:ext>
            </a:extLst>
          </p:cNvPr>
          <p:cNvSpPr/>
          <p:nvPr/>
        </p:nvSpPr>
        <p:spPr>
          <a:xfrm>
            <a:off x="4640800" y="2607729"/>
            <a:ext cx="2736000" cy="2736000"/>
          </a:xfrm>
          <a:prstGeom prst="donut">
            <a:avLst>
              <a:gd name="adj" fmla="val 11229"/>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black"/>
              </a:solidFill>
              <a:effectLst/>
              <a:uLnTx/>
              <a:uFillTx/>
              <a:latin typeface="Montserrat" panose="00000500000000000000" pitchFamily="2" charset="0"/>
            </a:endParaRPr>
          </a:p>
        </p:txBody>
      </p:sp>
      <p:sp>
        <p:nvSpPr>
          <p:cNvPr id="39" name="Rectángulo: esquinas redondeadas 38">
            <a:extLst>
              <a:ext uri="{FF2B5EF4-FFF2-40B4-BE49-F238E27FC236}">
                <a16:creationId xmlns:a16="http://schemas.microsoft.com/office/drawing/2014/main" id="{E66A21B1-09EF-CE35-5723-CA2B86A051BC}"/>
              </a:ext>
            </a:extLst>
          </p:cNvPr>
          <p:cNvSpPr/>
          <p:nvPr/>
        </p:nvSpPr>
        <p:spPr>
          <a:xfrm>
            <a:off x="7314472" y="3743141"/>
            <a:ext cx="1272612" cy="40774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es-CL" sz="1200" b="1" dirty="0">
                <a:solidFill>
                  <a:prstClr val="black">
                    <a:lumMod val="75000"/>
                    <a:lumOff val="25000"/>
                  </a:prstClr>
                </a:solidFill>
                <a:latin typeface="Montserrat" panose="00000500000000000000" pitchFamily="2" charset="0"/>
              </a:rPr>
              <a:t>Accesibilidad</a:t>
            </a:r>
            <a:endParaRPr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universal</a:t>
            </a:r>
            <a:endParaRPr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endParaRPr>
          </a:p>
        </p:txBody>
      </p:sp>
      <p:sp>
        <p:nvSpPr>
          <p:cNvPr id="40" name="Rectángulo: esquinas redondeadas 39">
            <a:extLst>
              <a:ext uri="{FF2B5EF4-FFF2-40B4-BE49-F238E27FC236}">
                <a16:creationId xmlns:a16="http://schemas.microsoft.com/office/drawing/2014/main" id="{5AFF96EB-4732-5892-9FF6-F67E244B1523}"/>
              </a:ext>
            </a:extLst>
          </p:cNvPr>
          <p:cNvSpPr/>
          <p:nvPr/>
        </p:nvSpPr>
        <p:spPr>
          <a:xfrm>
            <a:off x="6681668" y="5387147"/>
            <a:ext cx="1527002" cy="55606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b" latinLnBrk="0" hangingPunct="1">
              <a:lnSpc>
                <a:spcPct val="100000"/>
              </a:lnSpc>
              <a:spcBef>
                <a:spcPts val="0"/>
              </a:spcBef>
              <a:spcAft>
                <a:spcPts val="0"/>
              </a:spcAft>
              <a:buClrTx/>
              <a:buSzTx/>
              <a:buFontTx/>
              <a:buNone/>
              <a:tabLst/>
              <a:defRPr/>
            </a:pPr>
            <a:r>
              <a:rPr lang="es-CL" sz="1200" b="1" i="0" dirty="0">
                <a:solidFill>
                  <a:schemeClr val="tx1">
                    <a:lumMod val="75000"/>
                    <a:lumOff val="25000"/>
                  </a:schemeClr>
                </a:solidFill>
                <a:latin typeface="Montserrat" panose="00000500000000000000" pitchFamily="2" charset="0"/>
              </a:rPr>
              <a:t>Infraestructura de operaciones y mantenimiento</a:t>
            </a:r>
            <a:endParaRPr lang="es-CL" sz="1200" b="1" i="0" u="none" strike="noStrike" dirty="0">
              <a:solidFill>
                <a:schemeClr val="tx1">
                  <a:lumMod val="75000"/>
                  <a:lumOff val="25000"/>
                </a:schemeClr>
              </a:solidFill>
              <a:effectLst/>
              <a:latin typeface="Montserrat" panose="00000500000000000000" pitchFamily="2" charset="0"/>
            </a:endParaRPr>
          </a:p>
        </p:txBody>
      </p:sp>
      <p:sp>
        <p:nvSpPr>
          <p:cNvPr id="41" name="Rectángulo: esquinas redondeadas 40">
            <a:extLst>
              <a:ext uri="{FF2B5EF4-FFF2-40B4-BE49-F238E27FC236}">
                <a16:creationId xmlns:a16="http://schemas.microsoft.com/office/drawing/2014/main" id="{DE62EFBD-9C08-1B68-0616-BA35EE2A2FAE}"/>
              </a:ext>
            </a:extLst>
          </p:cNvPr>
          <p:cNvSpPr/>
          <p:nvPr/>
        </p:nvSpPr>
        <p:spPr>
          <a:xfrm>
            <a:off x="5315283" y="2056276"/>
            <a:ext cx="1481063" cy="52630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Mejoramiento de estaciones y comunicaciones</a:t>
            </a:r>
          </a:p>
        </p:txBody>
      </p:sp>
      <p:sp>
        <p:nvSpPr>
          <p:cNvPr id="43" name="Rectángulo: esquinas redondeadas 42">
            <a:extLst>
              <a:ext uri="{FF2B5EF4-FFF2-40B4-BE49-F238E27FC236}">
                <a16:creationId xmlns:a16="http://schemas.microsoft.com/office/drawing/2014/main" id="{C2AC6F08-C10C-B21B-FE87-F21C32237DA4}"/>
              </a:ext>
            </a:extLst>
          </p:cNvPr>
          <p:cNvSpPr/>
          <p:nvPr/>
        </p:nvSpPr>
        <p:spPr>
          <a:xfrm>
            <a:off x="3664066" y="4607566"/>
            <a:ext cx="1246171" cy="47955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Señalización y Vías</a:t>
            </a:r>
          </a:p>
        </p:txBody>
      </p:sp>
      <p:sp>
        <p:nvSpPr>
          <p:cNvPr id="44" name="Rectángulo: esquinas redondeadas 43">
            <a:extLst>
              <a:ext uri="{FF2B5EF4-FFF2-40B4-BE49-F238E27FC236}">
                <a16:creationId xmlns:a16="http://schemas.microsoft.com/office/drawing/2014/main" id="{407CD28F-848E-C2F2-93F0-E05648CEFA12}"/>
              </a:ext>
            </a:extLst>
          </p:cNvPr>
          <p:cNvSpPr/>
          <p:nvPr/>
        </p:nvSpPr>
        <p:spPr>
          <a:xfrm>
            <a:off x="4431669" y="6016963"/>
            <a:ext cx="1417582" cy="40774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kumimoji="0" lang="es-CL" sz="12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Dependencias de trabajadores</a:t>
            </a:r>
          </a:p>
        </p:txBody>
      </p:sp>
      <p:sp>
        <p:nvSpPr>
          <p:cNvPr id="62" name="CuadroTexto 61">
            <a:extLst>
              <a:ext uri="{FF2B5EF4-FFF2-40B4-BE49-F238E27FC236}">
                <a16:creationId xmlns:a16="http://schemas.microsoft.com/office/drawing/2014/main" id="{7CD70CC1-973B-14BC-BC9D-19C07E1F94B8}"/>
              </a:ext>
            </a:extLst>
          </p:cNvPr>
          <p:cNvSpPr txBox="1"/>
          <p:nvPr/>
        </p:nvSpPr>
        <p:spPr>
          <a:xfrm>
            <a:off x="6796346" y="1611859"/>
            <a:ext cx="3141760" cy="461665"/>
          </a:xfrm>
          <a:prstGeom prst="rect">
            <a:avLst/>
          </a:prstGeom>
          <a:noFill/>
        </p:spPr>
        <p:txBody>
          <a:bodyPr wrap="square" rtlCol="0">
            <a:spAutoFit/>
          </a:bodyPr>
          <a:lstStyle/>
          <a:p>
            <a:pPr marL="171450" indent="-171450">
              <a:buFont typeface="Wingdings" panose="05000000000000000000" pitchFamily="2" charset="2"/>
              <a:buChar char="§"/>
            </a:pPr>
            <a:r>
              <a:rPr lang="es-CL" sz="1200" dirty="0">
                <a:latin typeface="Montserrat" panose="00000500000000000000" pitchFamily="2" charset="0"/>
              </a:rPr>
              <a:t>Revalorización de estaciones</a:t>
            </a:r>
          </a:p>
          <a:p>
            <a:pPr marL="171450" indent="-171450">
              <a:buFont typeface="Wingdings" panose="05000000000000000000" pitchFamily="2" charset="2"/>
              <a:buChar char="§"/>
            </a:pPr>
            <a:r>
              <a:rPr lang="es-CL" sz="1200" dirty="0">
                <a:latin typeface="Montserrat" panose="00000500000000000000" pitchFamily="2" charset="0"/>
              </a:rPr>
              <a:t>Recambio de Torniquetes por PBC </a:t>
            </a:r>
          </a:p>
        </p:txBody>
      </p:sp>
      <p:sp>
        <p:nvSpPr>
          <p:cNvPr id="63" name="CuadroTexto 62">
            <a:extLst>
              <a:ext uri="{FF2B5EF4-FFF2-40B4-BE49-F238E27FC236}">
                <a16:creationId xmlns:a16="http://schemas.microsoft.com/office/drawing/2014/main" id="{809F0C42-30C5-B491-2D2C-8D6302FC2271}"/>
              </a:ext>
            </a:extLst>
          </p:cNvPr>
          <p:cNvSpPr txBox="1"/>
          <p:nvPr/>
        </p:nvSpPr>
        <p:spPr>
          <a:xfrm>
            <a:off x="8775169" y="3026104"/>
            <a:ext cx="3058244" cy="646331"/>
          </a:xfrm>
          <a:prstGeom prst="rect">
            <a:avLst/>
          </a:prstGeom>
          <a:noFill/>
        </p:spPr>
        <p:txBody>
          <a:bodyPr wrap="square" rtlCol="0">
            <a:spAutoFit/>
          </a:bodyPr>
          <a:lstStyle/>
          <a:p>
            <a:pPr marL="171450" indent="-171450">
              <a:buFont typeface="Wingdings" panose="05000000000000000000" pitchFamily="2" charset="2"/>
              <a:buChar char="§"/>
            </a:pPr>
            <a:r>
              <a:rPr lang="es-CL" sz="1200" dirty="0">
                <a:latin typeface="Montserrat" panose="00000500000000000000" pitchFamily="2" charset="0"/>
              </a:rPr>
              <a:t>Estándar N-1 ascensor Ecuador</a:t>
            </a:r>
          </a:p>
          <a:p>
            <a:pPr marL="171450" indent="-171450">
              <a:buFont typeface="Wingdings" panose="05000000000000000000" pitchFamily="2" charset="2"/>
              <a:buChar char="§"/>
            </a:pPr>
            <a:r>
              <a:rPr lang="es-CL" sz="1200" dirty="0">
                <a:latin typeface="Montserrat" panose="00000500000000000000" pitchFamily="2" charset="0"/>
              </a:rPr>
              <a:t>Recambio de Plataformas</a:t>
            </a:r>
          </a:p>
          <a:p>
            <a:pPr marL="171450" indent="-171450">
              <a:buFont typeface="Wingdings" panose="05000000000000000000" pitchFamily="2" charset="2"/>
              <a:buChar char="§"/>
            </a:pPr>
            <a:r>
              <a:rPr lang="es-CL" sz="1200" dirty="0">
                <a:latin typeface="Montserrat" panose="00000500000000000000" pitchFamily="2" charset="0"/>
              </a:rPr>
              <a:t>Recambio ascensores</a:t>
            </a:r>
          </a:p>
        </p:txBody>
      </p:sp>
      <p:sp>
        <p:nvSpPr>
          <p:cNvPr id="64" name="CuadroTexto 63">
            <a:extLst>
              <a:ext uri="{FF2B5EF4-FFF2-40B4-BE49-F238E27FC236}">
                <a16:creationId xmlns:a16="http://schemas.microsoft.com/office/drawing/2014/main" id="{2BF5331A-4A85-F5BF-EDB0-61CD26440FD4}"/>
              </a:ext>
            </a:extLst>
          </p:cNvPr>
          <p:cNvSpPr txBox="1"/>
          <p:nvPr/>
        </p:nvSpPr>
        <p:spPr>
          <a:xfrm>
            <a:off x="8295719" y="5115028"/>
            <a:ext cx="3537694" cy="1015663"/>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Estudios </a:t>
            </a:r>
            <a:r>
              <a:rPr lang="es-CL" sz="1200" dirty="0">
                <a:latin typeface="Montserrat" panose="00000500000000000000" pitchFamily="2" charset="0"/>
              </a:rPr>
              <a:t>estructural y OOCC</a:t>
            </a:r>
          </a:p>
          <a:p>
            <a:pPr marL="171450" indent="-171450">
              <a:buFont typeface="Wingdings" panose="05000000000000000000" pitchFamily="2" charset="2"/>
              <a:buChar char="§"/>
            </a:pPr>
            <a:r>
              <a:rPr lang="es-ES" sz="1200" dirty="0">
                <a:latin typeface="Montserrat" panose="00000500000000000000" pitchFamily="2" charset="0"/>
              </a:rPr>
              <a:t>Estudios de sistemas ferroviarios</a:t>
            </a:r>
          </a:p>
          <a:p>
            <a:pPr marL="171450" indent="-171450">
              <a:buFont typeface="Wingdings" panose="05000000000000000000" pitchFamily="2" charset="2"/>
              <a:buChar char="§"/>
            </a:pPr>
            <a:r>
              <a:rPr lang="es-ES" sz="1200" dirty="0">
                <a:latin typeface="Montserrat" panose="00000500000000000000" pitchFamily="2" charset="0"/>
              </a:rPr>
              <a:t>Habilitación recintos para GR Trenes</a:t>
            </a:r>
            <a:endParaRPr lang="es-CL" sz="1200" dirty="0">
              <a:latin typeface="Montserrat" panose="00000500000000000000" pitchFamily="2" charset="0"/>
            </a:endParaRPr>
          </a:p>
          <a:p>
            <a:pPr marL="171450" indent="-171450">
              <a:buFont typeface="Wingdings" panose="05000000000000000000" pitchFamily="2" charset="2"/>
              <a:buChar char="§"/>
            </a:pPr>
            <a:r>
              <a:rPr lang="es-CL" sz="1200" dirty="0">
                <a:latin typeface="Montserrat" panose="00000500000000000000" pitchFamily="2" charset="0"/>
              </a:rPr>
              <a:t>Migración data center a la nube</a:t>
            </a:r>
          </a:p>
          <a:p>
            <a:pPr marL="171450" indent="-171450">
              <a:buFont typeface="Wingdings" panose="05000000000000000000" pitchFamily="2" charset="2"/>
              <a:buChar char="§"/>
            </a:pPr>
            <a:r>
              <a:rPr lang="es-CL" sz="1200" dirty="0">
                <a:latin typeface="Montserrat" panose="00000500000000000000" pitchFamily="2" charset="0"/>
              </a:rPr>
              <a:t>Reposición de Catenarias</a:t>
            </a:r>
          </a:p>
        </p:txBody>
      </p:sp>
      <p:sp>
        <p:nvSpPr>
          <p:cNvPr id="65" name="CuadroTexto 64">
            <a:extLst>
              <a:ext uri="{FF2B5EF4-FFF2-40B4-BE49-F238E27FC236}">
                <a16:creationId xmlns:a16="http://schemas.microsoft.com/office/drawing/2014/main" id="{4CA9A013-2492-C9FE-0E19-143ED5BCF83E}"/>
              </a:ext>
            </a:extLst>
          </p:cNvPr>
          <p:cNvSpPr txBox="1"/>
          <p:nvPr/>
        </p:nvSpPr>
        <p:spPr>
          <a:xfrm>
            <a:off x="1005383" y="5517274"/>
            <a:ext cx="3426286" cy="461665"/>
          </a:xfrm>
          <a:prstGeom prst="rect">
            <a:avLst/>
          </a:prstGeom>
          <a:noFill/>
        </p:spPr>
        <p:txBody>
          <a:bodyPr wrap="square" rtlCol="0">
            <a:spAutoFit/>
          </a:bodyPr>
          <a:lstStyle/>
          <a:p>
            <a:pPr marL="171450" indent="-171450">
              <a:buFont typeface="Wingdings" panose="05000000000000000000" pitchFamily="2" charset="2"/>
              <a:buChar char="§"/>
            </a:pPr>
            <a:r>
              <a:rPr lang="es-CL" sz="1200" dirty="0">
                <a:latin typeface="Montserrat" panose="00000500000000000000" pitchFamily="2" charset="0"/>
              </a:rPr>
              <a:t>Mejoramiento Recintos de trabajadores</a:t>
            </a:r>
          </a:p>
          <a:p>
            <a:pPr marL="171450" indent="-171450">
              <a:buFont typeface="Wingdings" panose="05000000000000000000" pitchFamily="2" charset="2"/>
              <a:buChar char="§"/>
            </a:pPr>
            <a:r>
              <a:rPr lang="es-CL" sz="1200" dirty="0">
                <a:latin typeface="Montserrat" panose="00000500000000000000" pitchFamily="2" charset="0"/>
              </a:rPr>
              <a:t>A/C Cabinas trenes AS-02</a:t>
            </a:r>
          </a:p>
        </p:txBody>
      </p:sp>
      <p:sp>
        <p:nvSpPr>
          <p:cNvPr id="3" name="CuadroTexto 2">
            <a:extLst>
              <a:ext uri="{FF2B5EF4-FFF2-40B4-BE49-F238E27FC236}">
                <a16:creationId xmlns:a16="http://schemas.microsoft.com/office/drawing/2014/main" id="{E70BBCB1-3637-A368-9FE8-E07EB025320A}"/>
              </a:ext>
            </a:extLst>
          </p:cNvPr>
          <p:cNvSpPr txBox="1"/>
          <p:nvPr/>
        </p:nvSpPr>
        <p:spPr>
          <a:xfrm>
            <a:off x="688798" y="4172727"/>
            <a:ext cx="2929124" cy="461665"/>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CNF Pajaritos y Manquehue</a:t>
            </a:r>
          </a:p>
          <a:p>
            <a:pPr marL="171450" indent="-171450">
              <a:buFont typeface="Wingdings" panose="05000000000000000000" pitchFamily="2" charset="2"/>
              <a:buChar char="§"/>
            </a:pPr>
            <a:r>
              <a:rPr lang="es-ES" sz="1200" dirty="0">
                <a:latin typeface="Montserrat" panose="00000500000000000000" pitchFamily="2" charset="0"/>
              </a:rPr>
              <a:t>Sistema Lógica de Tracción L1</a:t>
            </a:r>
            <a:endParaRPr lang="es-CL" sz="1200" dirty="0">
              <a:latin typeface="Montserrat" panose="00000500000000000000" pitchFamily="2" charset="0"/>
            </a:endParaRPr>
          </a:p>
        </p:txBody>
      </p:sp>
      <p:pic>
        <p:nvPicPr>
          <p:cNvPr id="42" name="Imagen 41" descr="Icono&#10;&#10;Descripción generada automáticamente">
            <a:extLst>
              <a:ext uri="{FF2B5EF4-FFF2-40B4-BE49-F238E27FC236}">
                <a16:creationId xmlns:a16="http://schemas.microsoft.com/office/drawing/2014/main" id="{43C538ED-F407-E233-EAFD-63AD951172C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2706" y="1341854"/>
            <a:ext cx="693634" cy="693634"/>
          </a:xfrm>
          <a:prstGeom prst="rect">
            <a:avLst/>
          </a:prstGeom>
        </p:spPr>
      </p:pic>
      <p:pic>
        <p:nvPicPr>
          <p:cNvPr id="46" name="Imagen 45" descr="Icono&#10;&#10;Descripción generada automáticamente">
            <a:extLst>
              <a:ext uri="{FF2B5EF4-FFF2-40B4-BE49-F238E27FC236}">
                <a16:creationId xmlns:a16="http://schemas.microsoft.com/office/drawing/2014/main" id="{F5B38B7E-D9F1-1FC2-D24B-3CC684F7FCD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46851" y="2999772"/>
            <a:ext cx="748646" cy="748646"/>
          </a:xfrm>
          <a:prstGeom prst="rect">
            <a:avLst/>
          </a:prstGeom>
        </p:spPr>
      </p:pic>
      <p:pic>
        <p:nvPicPr>
          <p:cNvPr id="49" name="Imagen 48" descr="Icono&#10;&#10;Descripción generada automáticamente">
            <a:extLst>
              <a:ext uri="{FF2B5EF4-FFF2-40B4-BE49-F238E27FC236}">
                <a16:creationId xmlns:a16="http://schemas.microsoft.com/office/drawing/2014/main" id="{23C4E667-DC28-F31B-ED7F-B1C47E78921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46972" y="4672950"/>
            <a:ext cx="745003" cy="745003"/>
          </a:xfrm>
          <a:prstGeom prst="rect">
            <a:avLst/>
          </a:prstGeom>
        </p:spPr>
      </p:pic>
      <p:pic>
        <p:nvPicPr>
          <p:cNvPr id="68" name="Imagen 67" descr="Dibujo de videojuego&#10;&#10;Descripción generada automáticamente con confianza media">
            <a:extLst>
              <a:ext uri="{FF2B5EF4-FFF2-40B4-BE49-F238E27FC236}">
                <a16:creationId xmlns:a16="http://schemas.microsoft.com/office/drawing/2014/main" id="{918A4E19-4D18-CD1C-0DB5-BF3BF3A9A3D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59595" y="5327780"/>
            <a:ext cx="771244" cy="634823"/>
          </a:xfrm>
          <a:prstGeom prst="rect">
            <a:avLst/>
          </a:prstGeom>
        </p:spPr>
      </p:pic>
      <p:sp>
        <p:nvSpPr>
          <p:cNvPr id="11" name="Título 10">
            <a:extLst>
              <a:ext uri="{FF2B5EF4-FFF2-40B4-BE49-F238E27FC236}">
                <a16:creationId xmlns:a16="http://schemas.microsoft.com/office/drawing/2014/main" id="{07C15BDB-90CC-39D9-25E9-A39393BD1C64}"/>
              </a:ext>
            </a:extLst>
          </p:cNvPr>
          <p:cNvSpPr>
            <a:spLocks noGrp="1"/>
          </p:cNvSpPr>
          <p:nvPr>
            <p:ph type="title"/>
          </p:nvPr>
        </p:nvSpPr>
        <p:spPr/>
        <p:txBody>
          <a:bodyPr vert="horz"/>
          <a:lstStyle/>
          <a:p>
            <a:r>
              <a:rPr lang="es-CL" dirty="0">
                <a:latin typeface="Montserrat" panose="00000500000000000000" pitchFamily="2" charset="0"/>
              </a:rPr>
              <a:t>Proyectos en curso</a:t>
            </a:r>
          </a:p>
        </p:txBody>
      </p:sp>
      <p:pic>
        <p:nvPicPr>
          <p:cNvPr id="15" name="Imagen 14">
            <a:extLst>
              <a:ext uri="{FF2B5EF4-FFF2-40B4-BE49-F238E27FC236}">
                <a16:creationId xmlns:a16="http://schemas.microsoft.com/office/drawing/2014/main" id="{A8A1AB83-14BB-4806-A66F-64D487FBC992}"/>
              </a:ext>
            </a:extLst>
          </p:cNvPr>
          <p:cNvPicPr>
            <a:picLocks noChangeAspect="1"/>
          </p:cNvPicPr>
          <p:nvPr/>
        </p:nvPicPr>
        <p:blipFill>
          <a:blip r:embed="rId11">
            <a:alphaModFix amt="35000"/>
          </a:blip>
          <a:stretch>
            <a:fillRect/>
          </a:stretch>
        </p:blipFill>
        <p:spPr>
          <a:xfrm>
            <a:off x="4962307" y="2926838"/>
            <a:ext cx="2078833" cy="2078833"/>
          </a:xfrm>
          <a:prstGeom prst="ellipse">
            <a:avLst/>
          </a:prstGeom>
          <a:ln>
            <a:noFill/>
          </a:ln>
          <a:effectLst>
            <a:softEdge rad="112500"/>
          </a:effectLst>
        </p:spPr>
      </p:pic>
      <p:sp>
        <p:nvSpPr>
          <p:cNvPr id="16" name="Rectángulo: esquinas redondeadas 15">
            <a:extLst>
              <a:ext uri="{FF2B5EF4-FFF2-40B4-BE49-F238E27FC236}">
                <a16:creationId xmlns:a16="http://schemas.microsoft.com/office/drawing/2014/main" id="{5897A2E7-1BB2-8CFA-AAF5-A51AE7279B17}"/>
              </a:ext>
            </a:extLst>
          </p:cNvPr>
          <p:cNvSpPr/>
          <p:nvPr/>
        </p:nvSpPr>
        <p:spPr>
          <a:xfrm>
            <a:off x="898107" y="2563585"/>
            <a:ext cx="2929124" cy="405413"/>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17" name="Rectángulo: esquinas redondeadas 16">
            <a:extLst>
              <a:ext uri="{FF2B5EF4-FFF2-40B4-BE49-F238E27FC236}">
                <a16:creationId xmlns:a16="http://schemas.microsoft.com/office/drawing/2014/main" id="{7F5BA4EE-546C-EECA-A6D6-3107FD9085B4}"/>
              </a:ext>
            </a:extLst>
          </p:cNvPr>
          <p:cNvSpPr/>
          <p:nvPr/>
        </p:nvSpPr>
        <p:spPr>
          <a:xfrm>
            <a:off x="3753710" y="3155282"/>
            <a:ext cx="1246171" cy="33297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Puertas de Anden</a:t>
            </a:r>
          </a:p>
        </p:txBody>
      </p:sp>
      <p:sp>
        <p:nvSpPr>
          <p:cNvPr id="19" name="CuadroTexto 18">
            <a:extLst>
              <a:ext uri="{FF2B5EF4-FFF2-40B4-BE49-F238E27FC236}">
                <a16:creationId xmlns:a16="http://schemas.microsoft.com/office/drawing/2014/main" id="{EEBA93D7-49E0-0118-4B9E-9B9B180F89DD}"/>
              </a:ext>
            </a:extLst>
          </p:cNvPr>
          <p:cNvSpPr txBox="1"/>
          <p:nvPr/>
        </p:nvSpPr>
        <p:spPr>
          <a:xfrm>
            <a:off x="858725" y="2629340"/>
            <a:ext cx="2929124" cy="276999"/>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Instalación Puertas de Anden L1</a:t>
            </a:r>
          </a:p>
        </p:txBody>
      </p:sp>
      <p:pic>
        <p:nvPicPr>
          <p:cNvPr id="23" name="Imagen 22" descr="Imagen que contiene cuarto, diferente, diversos, montón&#10;&#10;Descripción generada automáticamente">
            <a:extLst>
              <a:ext uri="{FF2B5EF4-FFF2-40B4-BE49-F238E27FC236}">
                <a16:creationId xmlns:a16="http://schemas.microsoft.com/office/drawing/2014/main" id="{0C4F214D-BBAA-AED4-F779-B6269F4F6CA4}"/>
              </a:ext>
            </a:extLst>
          </p:cNvPr>
          <p:cNvPicPr>
            <a:picLocks noChangeAspect="1"/>
          </p:cNvPicPr>
          <p:nvPr/>
        </p:nvPicPr>
        <p:blipFill rotWithShape="1">
          <a:blip r:embed="rId12">
            <a:extLst>
              <a:ext uri="{BEBA8EAE-BF5A-486C-A8C5-ECC9F3942E4B}">
                <a14:imgProps xmlns:a14="http://schemas.microsoft.com/office/drawing/2010/main">
                  <a14:imgLayer r:embed="rId13">
                    <a14:imgEffect>
                      <a14:backgroundRemoval t="25663" b="45968" l="4862" r="23864">
                        <a14:foregroundMark x1="10747" y1="27232" x2="7798" y2="27232"/>
                        <a14:backgroundMark x1="13455" y1="36242" x2="13455" y2="36242"/>
                        <a14:backgroundMark x1="16444" y1="36081" x2="16444" y2="36081"/>
                        <a14:backgroundMark x1="15354" y1="33455" x2="15354" y2="33455"/>
                        <a14:backgroundMark x1="16444" y1="33697" x2="16444" y2="33697"/>
                        <a14:backgroundMark x1="16364" y1="37374" x2="16364" y2="37374"/>
                        <a14:backgroundMark x1="16566" y1="33657" x2="16566" y2="33657"/>
                      </a14:backgroundRemoval>
                    </a14:imgEffect>
                  </a14:imgLayer>
                </a14:imgProps>
              </a:ext>
              <a:ext uri="{28A0092B-C50C-407E-A947-70E740481C1C}">
                <a14:useLocalDpi xmlns:a14="http://schemas.microsoft.com/office/drawing/2010/main" val="0"/>
              </a:ext>
            </a:extLst>
          </a:blip>
          <a:srcRect l="5234" t="25364" r="78226" b="54999"/>
          <a:stretch/>
        </p:blipFill>
        <p:spPr>
          <a:xfrm>
            <a:off x="3990781" y="3911152"/>
            <a:ext cx="629642" cy="787781"/>
          </a:xfrm>
          <a:prstGeom prst="rect">
            <a:avLst/>
          </a:prstGeom>
        </p:spPr>
      </p:pic>
      <p:pic>
        <p:nvPicPr>
          <p:cNvPr id="24" name="Imagen 23">
            <a:extLst>
              <a:ext uri="{FF2B5EF4-FFF2-40B4-BE49-F238E27FC236}">
                <a16:creationId xmlns:a16="http://schemas.microsoft.com/office/drawing/2014/main" id="{FF102C54-AFF8-83E8-7BA0-E4C882B5E21A}"/>
              </a:ext>
            </a:extLst>
          </p:cNvPr>
          <p:cNvPicPr>
            <a:picLocks noChangeAspect="1"/>
          </p:cNvPicPr>
          <p:nvPr/>
        </p:nvPicPr>
        <p:blipFill>
          <a:blip r:embed="rId14"/>
          <a:srcRect l="24354" t="20728" r="25593" b="20732"/>
          <a:stretch/>
        </p:blipFill>
        <p:spPr>
          <a:xfrm>
            <a:off x="4041509" y="2330821"/>
            <a:ext cx="647466" cy="831117"/>
          </a:xfrm>
          <a:prstGeom prst="rect">
            <a:avLst/>
          </a:prstGeom>
        </p:spPr>
      </p:pic>
    </p:spTree>
    <p:extLst>
      <p:ext uri="{BB962C8B-B14F-4D97-AF65-F5344CB8AC3E}">
        <p14:creationId xmlns:p14="http://schemas.microsoft.com/office/powerpoint/2010/main" val="2025418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CC89A-DC19-BB30-B2BF-15A1DEDC002B}"/>
            </a:ext>
          </a:extLst>
        </p:cNvPr>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1E829239-41F7-42B3-1CE1-65D324871083}"/>
              </a:ext>
            </a:extLst>
          </p:cNvPr>
          <p:cNvGraphicFramePr>
            <a:graphicFrameLocks noChangeAspect="1"/>
          </p:cNvGraphicFramePr>
          <p:nvPr>
            <p:custDataLst>
              <p:tags r:id="rId2"/>
            </p:custDataLst>
            <p:extLst>
              <p:ext uri="{D42A27DB-BD31-4B8C-83A1-F6EECF244321}">
                <p14:modId xmlns:p14="http://schemas.microsoft.com/office/powerpoint/2010/main" val="1111445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Diapositiva de think-cell" r:id="rId5" imgW="395" imgH="396" progId="TCLayout.ActiveDocument.1">
                  <p:embed/>
                </p:oleObj>
              </mc:Choice>
              <mc:Fallback>
                <p:oleObj name="Diapositiva de think-cell" r:id="rId5" imgW="395" imgH="396" progId="TCLayout.ActiveDocument.1">
                  <p:embed/>
                  <p:pic>
                    <p:nvPicPr>
                      <p:cNvPr id="5" name="Objeto 4" hidden="1">
                        <a:extLst>
                          <a:ext uri="{FF2B5EF4-FFF2-40B4-BE49-F238E27FC236}">
                            <a16:creationId xmlns:a16="http://schemas.microsoft.com/office/drawing/2014/main" id="{1E829239-41F7-42B3-1CE1-65D32487108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5" name="Rectángulo: esquinas redondeadas 34">
            <a:extLst>
              <a:ext uri="{FF2B5EF4-FFF2-40B4-BE49-F238E27FC236}">
                <a16:creationId xmlns:a16="http://schemas.microsoft.com/office/drawing/2014/main" id="{97CB4F85-CBD1-BBA8-C545-0ACA45DB156D}"/>
              </a:ext>
            </a:extLst>
          </p:cNvPr>
          <p:cNvSpPr/>
          <p:nvPr/>
        </p:nvSpPr>
        <p:spPr>
          <a:xfrm>
            <a:off x="442031" y="3425533"/>
            <a:ext cx="3328507" cy="1200330"/>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36" name="CuadroTexto 35">
            <a:extLst>
              <a:ext uri="{FF2B5EF4-FFF2-40B4-BE49-F238E27FC236}">
                <a16:creationId xmlns:a16="http://schemas.microsoft.com/office/drawing/2014/main" id="{879894EF-584C-F3FB-2FB0-96CD11C63841}"/>
              </a:ext>
            </a:extLst>
          </p:cNvPr>
          <p:cNvSpPr txBox="1"/>
          <p:nvPr/>
        </p:nvSpPr>
        <p:spPr>
          <a:xfrm>
            <a:off x="410309" y="3427339"/>
            <a:ext cx="3360229" cy="1200329"/>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Renovación de UTR seriales</a:t>
            </a:r>
          </a:p>
          <a:p>
            <a:pPr marL="171450" indent="-171450">
              <a:buFont typeface="Wingdings" panose="05000000000000000000" pitchFamily="2" charset="2"/>
              <a:buChar char="§"/>
            </a:pPr>
            <a:r>
              <a:rPr lang="es-ES" sz="1200" dirty="0">
                <a:latin typeface="Montserrat" panose="00000500000000000000" pitchFamily="2" charset="0"/>
              </a:rPr>
              <a:t>Renovación sistema SCADA o similar</a:t>
            </a:r>
          </a:p>
          <a:p>
            <a:pPr marL="171450" indent="-171450">
              <a:buFont typeface="Wingdings" panose="05000000000000000000" pitchFamily="2" charset="2"/>
              <a:buChar char="§"/>
            </a:pPr>
            <a:r>
              <a:rPr lang="es-ES" sz="1200" dirty="0">
                <a:latin typeface="Montserrat" panose="00000500000000000000" pitchFamily="2" charset="0"/>
              </a:rPr>
              <a:t>Sistema eléctrico estaciones y casino</a:t>
            </a:r>
          </a:p>
          <a:p>
            <a:pPr marL="171450" indent="-171450">
              <a:buFont typeface="Wingdings" panose="05000000000000000000" pitchFamily="2" charset="2"/>
              <a:buChar char="§"/>
            </a:pPr>
            <a:r>
              <a:rPr lang="es-ES" sz="1200" dirty="0">
                <a:latin typeface="Montserrat" panose="00000500000000000000" pitchFamily="2" charset="0"/>
              </a:rPr>
              <a:t>AACC de salas técnicas</a:t>
            </a:r>
          </a:p>
          <a:p>
            <a:pPr marL="171450" indent="-171450">
              <a:buFont typeface="Wingdings" panose="05000000000000000000" pitchFamily="2" charset="2"/>
              <a:buChar char="§"/>
            </a:pPr>
            <a:r>
              <a:rPr lang="es-ES" sz="1200" dirty="0">
                <a:latin typeface="Montserrat" panose="00000500000000000000" pitchFamily="2" charset="0"/>
              </a:rPr>
              <a:t>Sistema Central Red de Carga </a:t>
            </a:r>
          </a:p>
          <a:p>
            <a:pPr marL="171450" indent="-171450">
              <a:buFont typeface="Wingdings" panose="05000000000000000000" pitchFamily="2" charset="2"/>
              <a:buChar char="§"/>
            </a:pPr>
            <a:r>
              <a:rPr lang="es-ES" sz="1200" dirty="0">
                <a:latin typeface="Montserrat" panose="00000500000000000000" pitchFamily="2" charset="0"/>
              </a:rPr>
              <a:t>Iluminación interestaciones</a:t>
            </a:r>
          </a:p>
        </p:txBody>
      </p:sp>
      <p:sp>
        <p:nvSpPr>
          <p:cNvPr id="63" name="CuadroTexto 62">
            <a:extLst>
              <a:ext uri="{FF2B5EF4-FFF2-40B4-BE49-F238E27FC236}">
                <a16:creationId xmlns:a16="http://schemas.microsoft.com/office/drawing/2014/main" id="{6CDFA4B6-CF06-6242-C78F-E3D90699CDE3}"/>
              </a:ext>
            </a:extLst>
          </p:cNvPr>
          <p:cNvSpPr txBox="1"/>
          <p:nvPr/>
        </p:nvSpPr>
        <p:spPr>
          <a:xfrm>
            <a:off x="8474106" y="2719807"/>
            <a:ext cx="3401740" cy="1015663"/>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Accesibilidad Universal Intermodales</a:t>
            </a:r>
          </a:p>
          <a:p>
            <a:pPr marL="171450" indent="-171450">
              <a:buFont typeface="Wingdings" panose="05000000000000000000" pitchFamily="2" charset="2"/>
              <a:buChar char="§"/>
            </a:pPr>
            <a:r>
              <a:rPr lang="es-ES" sz="1200" dirty="0">
                <a:latin typeface="Montserrat" panose="00000500000000000000" pitchFamily="2" charset="0"/>
              </a:rPr>
              <a:t>Información de estado ascensores</a:t>
            </a:r>
          </a:p>
          <a:p>
            <a:pPr marL="171450" indent="-171450">
              <a:buFont typeface="Wingdings" panose="05000000000000000000" pitchFamily="2" charset="2"/>
              <a:buChar char="§"/>
            </a:pPr>
            <a:r>
              <a:rPr lang="es-ES" sz="1200" dirty="0">
                <a:latin typeface="Montserrat" panose="00000500000000000000" pitchFamily="2" charset="0"/>
              </a:rPr>
              <a:t>Mensajes pregrabados en ascensores</a:t>
            </a:r>
          </a:p>
          <a:p>
            <a:pPr marL="171450" indent="-171450">
              <a:buFont typeface="Wingdings" panose="05000000000000000000" pitchFamily="2" charset="2"/>
              <a:buChar char="§"/>
            </a:pPr>
            <a:r>
              <a:rPr lang="es-ES" sz="1200" dirty="0">
                <a:latin typeface="Montserrat" panose="00000500000000000000" pitchFamily="2" charset="0"/>
              </a:rPr>
              <a:t>Reposición Escaleras mecánicas</a:t>
            </a:r>
          </a:p>
          <a:p>
            <a:pPr marL="171450" indent="-171450">
              <a:buFont typeface="Wingdings" panose="05000000000000000000" pitchFamily="2" charset="2"/>
              <a:buChar char="§"/>
            </a:pPr>
            <a:r>
              <a:rPr lang="es-ES" sz="1200" dirty="0">
                <a:latin typeface="Montserrat" panose="00000500000000000000" pitchFamily="2" charset="0"/>
              </a:rPr>
              <a:t>Estandarización de brechas</a:t>
            </a:r>
          </a:p>
        </p:txBody>
      </p:sp>
      <p:sp>
        <p:nvSpPr>
          <p:cNvPr id="4" name="Rectángulo: esquinas redondeadas 3">
            <a:extLst>
              <a:ext uri="{FF2B5EF4-FFF2-40B4-BE49-F238E27FC236}">
                <a16:creationId xmlns:a16="http://schemas.microsoft.com/office/drawing/2014/main" id="{76ADBF61-5390-4784-A41B-F425DB92112D}"/>
              </a:ext>
            </a:extLst>
          </p:cNvPr>
          <p:cNvSpPr/>
          <p:nvPr/>
        </p:nvSpPr>
        <p:spPr>
          <a:xfrm>
            <a:off x="6777108" y="1373593"/>
            <a:ext cx="3328507" cy="1033092"/>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62" name="CuadroTexto 61">
            <a:extLst>
              <a:ext uri="{FF2B5EF4-FFF2-40B4-BE49-F238E27FC236}">
                <a16:creationId xmlns:a16="http://schemas.microsoft.com/office/drawing/2014/main" id="{DAB8CF60-F08F-E329-1303-58F487728967}"/>
              </a:ext>
            </a:extLst>
          </p:cNvPr>
          <p:cNvSpPr txBox="1"/>
          <p:nvPr/>
        </p:nvSpPr>
        <p:spPr>
          <a:xfrm>
            <a:off x="6745386" y="1382558"/>
            <a:ext cx="3360229" cy="1015663"/>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Actualización APP Metro</a:t>
            </a:r>
          </a:p>
          <a:p>
            <a:pPr marL="171450" indent="-171450">
              <a:buFont typeface="Wingdings" panose="05000000000000000000" pitchFamily="2" charset="2"/>
              <a:buChar char="§"/>
            </a:pPr>
            <a:r>
              <a:rPr lang="es-ES" sz="1200" dirty="0">
                <a:latin typeface="Montserrat" panose="00000500000000000000" pitchFamily="2" charset="0"/>
              </a:rPr>
              <a:t>Modernización de Sistema CCTV </a:t>
            </a:r>
          </a:p>
          <a:p>
            <a:pPr marL="171450" indent="-171450">
              <a:buFont typeface="Wingdings" panose="05000000000000000000" pitchFamily="2" charset="2"/>
              <a:buChar char="§"/>
            </a:pPr>
            <a:r>
              <a:rPr lang="es-ES" sz="1200" dirty="0">
                <a:latin typeface="Montserrat" panose="00000500000000000000" pitchFamily="2" charset="0"/>
              </a:rPr>
              <a:t>Disminución brechas de información</a:t>
            </a:r>
          </a:p>
          <a:p>
            <a:pPr marL="171450" indent="-171450">
              <a:buFont typeface="Wingdings" panose="05000000000000000000" pitchFamily="2" charset="2"/>
              <a:buChar char="§"/>
            </a:pPr>
            <a:r>
              <a:rPr lang="es-ES" sz="1200" dirty="0">
                <a:latin typeface="Montserrat" panose="00000500000000000000" pitchFamily="2" charset="0"/>
              </a:rPr>
              <a:t>Sonorización a clientes desde CCO</a:t>
            </a:r>
          </a:p>
          <a:p>
            <a:pPr marL="171450" indent="-171450">
              <a:buFont typeface="Wingdings" panose="05000000000000000000" pitchFamily="2" charset="2"/>
              <a:buChar char="§"/>
            </a:pPr>
            <a:r>
              <a:rPr lang="es-ES" sz="1200" dirty="0">
                <a:latin typeface="Montserrat" panose="00000500000000000000" pitchFamily="2" charset="0"/>
              </a:rPr>
              <a:t>Centralización de interfonía y alarmas</a:t>
            </a:r>
          </a:p>
        </p:txBody>
      </p:sp>
      <p:sp>
        <p:nvSpPr>
          <p:cNvPr id="26" name="Rectángulo: esquinas redondeadas 25">
            <a:extLst>
              <a:ext uri="{FF2B5EF4-FFF2-40B4-BE49-F238E27FC236}">
                <a16:creationId xmlns:a16="http://schemas.microsoft.com/office/drawing/2014/main" id="{9C884603-DDCB-A07A-03BB-B872928C3FAB}"/>
              </a:ext>
            </a:extLst>
          </p:cNvPr>
          <p:cNvSpPr/>
          <p:nvPr/>
        </p:nvSpPr>
        <p:spPr>
          <a:xfrm>
            <a:off x="6736759" y="5890451"/>
            <a:ext cx="3614144" cy="285387"/>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22" name="Rectángulo: esquinas redondeadas 21">
            <a:extLst>
              <a:ext uri="{FF2B5EF4-FFF2-40B4-BE49-F238E27FC236}">
                <a16:creationId xmlns:a16="http://schemas.microsoft.com/office/drawing/2014/main" id="{0C8E02A0-105D-0E65-7229-A7EA631906CC}"/>
              </a:ext>
            </a:extLst>
          </p:cNvPr>
          <p:cNvSpPr/>
          <p:nvPr/>
        </p:nvSpPr>
        <p:spPr>
          <a:xfrm>
            <a:off x="8552579" y="4385076"/>
            <a:ext cx="3513170" cy="830997"/>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20" name="Rectángulo: esquinas redondeadas 19">
            <a:extLst>
              <a:ext uri="{FF2B5EF4-FFF2-40B4-BE49-F238E27FC236}">
                <a16:creationId xmlns:a16="http://schemas.microsoft.com/office/drawing/2014/main" id="{EDE16E6C-3343-850A-EBCE-FCAB3BBC8B0A}"/>
              </a:ext>
            </a:extLst>
          </p:cNvPr>
          <p:cNvSpPr/>
          <p:nvPr/>
        </p:nvSpPr>
        <p:spPr>
          <a:xfrm>
            <a:off x="8509648" y="2723414"/>
            <a:ext cx="3366197" cy="985162"/>
          </a:xfrm>
          <a:prstGeom prst="roundRect">
            <a:avLst/>
          </a:prstGeom>
          <a:no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66" name="Rectángulo: esquinas redondeadas 65">
            <a:extLst>
              <a:ext uri="{FF2B5EF4-FFF2-40B4-BE49-F238E27FC236}">
                <a16:creationId xmlns:a16="http://schemas.microsoft.com/office/drawing/2014/main" id="{565BC0B6-EB48-C64D-685F-FD9D077E8855}"/>
              </a:ext>
            </a:extLst>
          </p:cNvPr>
          <p:cNvSpPr/>
          <p:nvPr/>
        </p:nvSpPr>
        <p:spPr>
          <a:xfrm>
            <a:off x="1158878" y="5155144"/>
            <a:ext cx="2929124" cy="588377"/>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7" name="Círculo: vacío 6">
            <a:extLst>
              <a:ext uri="{FF2B5EF4-FFF2-40B4-BE49-F238E27FC236}">
                <a16:creationId xmlns:a16="http://schemas.microsoft.com/office/drawing/2014/main" id="{513F04A3-0DD5-838D-3ACF-6EC455FAA1C7}"/>
              </a:ext>
            </a:extLst>
          </p:cNvPr>
          <p:cNvSpPr/>
          <p:nvPr/>
        </p:nvSpPr>
        <p:spPr>
          <a:xfrm>
            <a:off x="4640800" y="2607729"/>
            <a:ext cx="2736000" cy="2736000"/>
          </a:xfrm>
          <a:prstGeom prst="donut">
            <a:avLst>
              <a:gd name="adj" fmla="val 11229"/>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black"/>
              </a:solidFill>
              <a:effectLst/>
              <a:uLnTx/>
              <a:uFillTx/>
              <a:latin typeface="Montserrat" panose="00000500000000000000" pitchFamily="2" charset="0"/>
            </a:endParaRPr>
          </a:p>
        </p:txBody>
      </p:sp>
      <p:sp>
        <p:nvSpPr>
          <p:cNvPr id="39" name="Rectángulo: esquinas redondeadas 38">
            <a:extLst>
              <a:ext uri="{FF2B5EF4-FFF2-40B4-BE49-F238E27FC236}">
                <a16:creationId xmlns:a16="http://schemas.microsoft.com/office/drawing/2014/main" id="{E7398E19-E2AA-0419-1FA3-15CA278BB806}"/>
              </a:ext>
            </a:extLst>
          </p:cNvPr>
          <p:cNvSpPr/>
          <p:nvPr/>
        </p:nvSpPr>
        <p:spPr>
          <a:xfrm>
            <a:off x="7237529" y="3409951"/>
            <a:ext cx="1272612" cy="40774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es-CL" sz="1200" b="1" dirty="0">
                <a:solidFill>
                  <a:prstClr val="black">
                    <a:lumMod val="75000"/>
                    <a:lumOff val="25000"/>
                  </a:prstClr>
                </a:solidFill>
                <a:latin typeface="Montserrat" panose="00000500000000000000" pitchFamily="2" charset="0"/>
              </a:rPr>
              <a:t>Accesibilidad</a:t>
            </a:r>
            <a:endParaRPr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universal</a:t>
            </a:r>
            <a:endParaRPr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endParaRPr>
          </a:p>
        </p:txBody>
      </p:sp>
      <p:sp>
        <p:nvSpPr>
          <p:cNvPr id="40" name="Rectángulo: esquinas redondeadas 39">
            <a:extLst>
              <a:ext uri="{FF2B5EF4-FFF2-40B4-BE49-F238E27FC236}">
                <a16:creationId xmlns:a16="http://schemas.microsoft.com/office/drawing/2014/main" id="{461ECDC6-878D-F73B-70EA-E6318C134CAA}"/>
              </a:ext>
            </a:extLst>
          </p:cNvPr>
          <p:cNvSpPr/>
          <p:nvPr/>
        </p:nvSpPr>
        <p:spPr>
          <a:xfrm>
            <a:off x="7025576" y="4767010"/>
            <a:ext cx="1527002" cy="55606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b" latinLnBrk="0" hangingPunct="1">
              <a:lnSpc>
                <a:spcPct val="100000"/>
              </a:lnSpc>
              <a:spcBef>
                <a:spcPts val="0"/>
              </a:spcBef>
              <a:spcAft>
                <a:spcPts val="0"/>
              </a:spcAft>
              <a:buClrTx/>
              <a:buSzTx/>
              <a:buFontTx/>
              <a:buNone/>
              <a:tabLst/>
              <a:defRPr/>
            </a:pPr>
            <a:r>
              <a:rPr lang="es-CL" sz="1200" b="1" i="0" dirty="0">
                <a:solidFill>
                  <a:schemeClr val="tx1">
                    <a:lumMod val="75000"/>
                    <a:lumOff val="25000"/>
                  </a:schemeClr>
                </a:solidFill>
                <a:latin typeface="Montserrat" panose="00000500000000000000" pitchFamily="2" charset="0"/>
              </a:rPr>
              <a:t>Infraestructura de operaciones y mantenimiento</a:t>
            </a:r>
            <a:endParaRPr lang="es-CL" sz="1200" b="1" i="0" u="none" strike="noStrike" dirty="0">
              <a:solidFill>
                <a:schemeClr val="tx1">
                  <a:lumMod val="75000"/>
                  <a:lumOff val="25000"/>
                </a:schemeClr>
              </a:solidFill>
              <a:effectLst/>
              <a:latin typeface="Montserrat" panose="00000500000000000000" pitchFamily="2" charset="0"/>
            </a:endParaRPr>
          </a:p>
        </p:txBody>
      </p:sp>
      <p:sp>
        <p:nvSpPr>
          <p:cNvPr id="41" name="Rectángulo: esquinas redondeadas 40">
            <a:extLst>
              <a:ext uri="{FF2B5EF4-FFF2-40B4-BE49-F238E27FC236}">
                <a16:creationId xmlns:a16="http://schemas.microsoft.com/office/drawing/2014/main" id="{CB56EF82-25F2-C15C-7114-545CF272DABD}"/>
              </a:ext>
            </a:extLst>
          </p:cNvPr>
          <p:cNvSpPr/>
          <p:nvPr/>
        </p:nvSpPr>
        <p:spPr>
          <a:xfrm>
            <a:off x="5315283" y="2056276"/>
            <a:ext cx="1481063" cy="526303"/>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Mejoramiento de estaciones y comunicaciones</a:t>
            </a:r>
          </a:p>
        </p:txBody>
      </p:sp>
      <p:sp>
        <p:nvSpPr>
          <p:cNvPr id="43" name="Rectángulo: esquinas redondeadas 42">
            <a:extLst>
              <a:ext uri="{FF2B5EF4-FFF2-40B4-BE49-F238E27FC236}">
                <a16:creationId xmlns:a16="http://schemas.microsoft.com/office/drawing/2014/main" id="{F56F88D2-40E0-EBE5-4B6B-FF932D607A54}"/>
              </a:ext>
            </a:extLst>
          </p:cNvPr>
          <p:cNvSpPr/>
          <p:nvPr/>
        </p:nvSpPr>
        <p:spPr>
          <a:xfrm>
            <a:off x="4059305" y="5571471"/>
            <a:ext cx="1246171" cy="479552"/>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Señalización y Vías</a:t>
            </a:r>
          </a:p>
        </p:txBody>
      </p:sp>
      <p:sp>
        <p:nvSpPr>
          <p:cNvPr id="44" name="Rectángulo: esquinas redondeadas 43">
            <a:extLst>
              <a:ext uri="{FF2B5EF4-FFF2-40B4-BE49-F238E27FC236}">
                <a16:creationId xmlns:a16="http://schemas.microsoft.com/office/drawing/2014/main" id="{8288C64D-E776-20DA-DF46-251366ACBDE2}"/>
              </a:ext>
            </a:extLst>
          </p:cNvPr>
          <p:cNvSpPr/>
          <p:nvPr/>
        </p:nvSpPr>
        <p:spPr>
          <a:xfrm>
            <a:off x="5319178" y="6196257"/>
            <a:ext cx="1417582" cy="407745"/>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kumimoji="0" lang="es-CL" sz="12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Dependencias de trabajadores</a:t>
            </a:r>
          </a:p>
        </p:txBody>
      </p:sp>
      <p:sp>
        <p:nvSpPr>
          <p:cNvPr id="64" name="CuadroTexto 63">
            <a:extLst>
              <a:ext uri="{FF2B5EF4-FFF2-40B4-BE49-F238E27FC236}">
                <a16:creationId xmlns:a16="http://schemas.microsoft.com/office/drawing/2014/main" id="{8483C65B-4CAC-FBEA-1BE2-464440858D8E}"/>
              </a:ext>
            </a:extLst>
          </p:cNvPr>
          <p:cNvSpPr txBox="1"/>
          <p:nvPr/>
        </p:nvSpPr>
        <p:spPr>
          <a:xfrm>
            <a:off x="8552578" y="4385076"/>
            <a:ext cx="3513170" cy="830997"/>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Sistema de planificación y programación</a:t>
            </a:r>
          </a:p>
          <a:p>
            <a:pPr marL="171450" indent="-171450">
              <a:buFont typeface="Wingdings" panose="05000000000000000000" pitchFamily="2" charset="2"/>
              <a:buChar char="§"/>
            </a:pPr>
            <a:r>
              <a:rPr lang="es-ES" sz="1200" dirty="0">
                <a:latin typeface="Montserrat" panose="00000500000000000000" pitchFamily="2" charset="0"/>
              </a:rPr>
              <a:t>Imple. análisis del Mantenimiento</a:t>
            </a:r>
          </a:p>
          <a:p>
            <a:pPr marL="171450" indent="-171450">
              <a:buFont typeface="Wingdings" panose="05000000000000000000" pitchFamily="2" charset="2"/>
              <a:buChar char="§"/>
            </a:pPr>
            <a:r>
              <a:rPr lang="es-ES" sz="1200" dirty="0">
                <a:latin typeface="Montserrat" panose="00000500000000000000" pitchFamily="2" charset="0"/>
              </a:rPr>
              <a:t>Mejoramiento OOCC</a:t>
            </a:r>
          </a:p>
          <a:p>
            <a:pPr marL="171450" indent="-171450">
              <a:buFont typeface="Wingdings" panose="05000000000000000000" pitchFamily="2" charset="2"/>
              <a:buChar char="§"/>
            </a:pPr>
            <a:r>
              <a:rPr lang="es-ES" sz="1200" dirty="0">
                <a:latin typeface="Montserrat" panose="00000500000000000000" pitchFamily="2" charset="0"/>
              </a:rPr>
              <a:t>Mejoras en layout en el centro control</a:t>
            </a:r>
          </a:p>
        </p:txBody>
      </p:sp>
      <p:sp>
        <p:nvSpPr>
          <p:cNvPr id="65" name="CuadroTexto 64">
            <a:extLst>
              <a:ext uri="{FF2B5EF4-FFF2-40B4-BE49-F238E27FC236}">
                <a16:creationId xmlns:a16="http://schemas.microsoft.com/office/drawing/2014/main" id="{F2DFA0B1-F7C4-1F00-B169-ED2FE6D65CC5}"/>
              </a:ext>
            </a:extLst>
          </p:cNvPr>
          <p:cNvSpPr txBox="1"/>
          <p:nvPr/>
        </p:nvSpPr>
        <p:spPr>
          <a:xfrm>
            <a:off x="6736760" y="5890451"/>
            <a:ext cx="3694679" cy="276999"/>
          </a:xfrm>
          <a:prstGeom prst="rect">
            <a:avLst/>
          </a:prstGeom>
          <a:noFill/>
        </p:spPr>
        <p:txBody>
          <a:bodyPr wrap="square" rtlCol="0">
            <a:spAutoFit/>
          </a:bodyPr>
          <a:lstStyle/>
          <a:p>
            <a:pPr marL="171450" indent="-171450">
              <a:buFont typeface="Wingdings" panose="05000000000000000000" pitchFamily="2" charset="2"/>
              <a:buChar char="§"/>
            </a:pPr>
            <a:r>
              <a:rPr lang="es-CL" sz="1200" dirty="0">
                <a:latin typeface="Montserrat" panose="00000500000000000000" pitchFamily="2" charset="0"/>
              </a:rPr>
              <a:t>Termos agua caliente en recintos</a:t>
            </a:r>
          </a:p>
        </p:txBody>
      </p:sp>
      <p:sp>
        <p:nvSpPr>
          <p:cNvPr id="3" name="CuadroTexto 2">
            <a:extLst>
              <a:ext uri="{FF2B5EF4-FFF2-40B4-BE49-F238E27FC236}">
                <a16:creationId xmlns:a16="http://schemas.microsoft.com/office/drawing/2014/main" id="{F8AC4DC0-48DF-0A85-2FF7-55AD22D0673E}"/>
              </a:ext>
            </a:extLst>
          </p:cNvPr>
          <p:cNvSpPr txBox="1"/>
          <p:nvPr/>
        </p:nvSpPr>
        <p:spPr>
          <a:xfrm>
            <a:off x="1128862" y="5226280"/>
            <a:ext cx="2929124" cy="461665"/>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Sist. señalización y Pilotaje Auto.</a:t>
            </a:r>
          </a:p>
          <a:p>
            <a:pPr marL="171450" indent="-171450">
              <a:buFont typeface="Wingdings" panose="05000000000000000000" pitchFamily="2" charset="2"/>
              <a:buChar char="§"/>
            </a:pPr>
            <a:r>
              <a:rPr lang="es-ES" sz="1200" dirty="0">
                <a:latin typeface="Montserrat" panose="00000500000000000000" pitchFamily="2" charset="0"/>
              </a:rPr>
              <a:t>Instalación de Aparatos de Vías</a:t>
            </a:r>
          </a:p>
        </p:txBody>
      </p:sp>
      <p:pic>
        <p:nvPicPr>
          <p:cNvPr id="42" name="Imagen 41" descr="Icono&#10;&#10;Descripción generada automáticamente">
            <a:extLst>
              <a:ext uri="{FF2B5EF4-FFF2-40B4-BE49-F238E27FC236}">
                <a16:creationId xmlns:a16="http://schemas.microsoft.com/office/drawing/2014/main" id="{668475F6-A245-9EA5-DDAD-82710D0A9A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2706" y="1341854"/>
            <a:ext cx="693634" cy="693634"/>
          </a:xfrm>
          <a:prstGeom prst="rect">
            <a:avLst/>
          </a:prstGeom>
        </p:spPr>
      </p:pic>
      <p:pic>
        <p:nvPicPr>
          <p:cNvPr id="46" name="Imagen 45" descr="Icono&#10;&#10;Descripción generada automáticamente">
            <a:extLst>
              <a:ext uri="{FF2B5EF4-FFF2-40B4-BE49-F238E27FC236}">
                <a16:creationId xmlns:a16="http://schemas.microsoft.com/office/drawing/2014/main" id="{84392B3B-BE32-96EE-F246-5777AFF9803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69908" y="2666582"/>
            <a:ext cx="748646" cy="748646"/>
          </a:xfrm>
          <a:prstGeom prst="rect">
            <a:avLst/>
          </a:prstGeom>
        </p:spPr>
      </p:pic>
      <p:pic>
        <p:nvPicPr>
          <p:cNvPr id="49" name="Imagen 48" descr="Icono&#10;&#10;Descripción generada automáticamente">
            <a:extLst>
              <a:ext uri="{FF2B5EF4-FFF2-40B4-BE49-F238E27FC236}">
                <a16:creationId xmlns:a16="http://schemas.microsoft.com/office/drawing/2014/main" id="{A593F478-5821-65E5-D9B2-A293E8D899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390880" y="4052813"/>
            <a:ext cx="745003" cy="745003"/>
          </a:xfrm>
          <a:prstGeom prst="rect">
            <a:avLst/>
          </a:prstGeom>
        </p:spPr>
      </p:pic>
      <p:pic>
        <p:nvPicPr>
          <p:cNvPr id="68" name="Imagen 67" descr="Dibujo de videojuego&#10;&#10;Descripción generada automáticamente con confianza media">
            <a:extLst>
              <a:ext uri="{FF2B5EF4-FFF2-40B4-BE49-F238E27FC236}">
                <a16:creationId xmlns:a16="http://schemas.microsoft.com/office/drawing/2014/main" id="{4B1B43D2-FBD0-B751-D3C7-540D8E55FC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47104" y="5507074"/>
            <a:ext cx="771244" cy="634823"/>
          </a:xfrm>
          <a:prstGeom prst="rect">
            <a:avLst/>
          </a:prstGeom>
        </p:spPr>
      </p:pic>
      <p:sp>
        <p:nvSpPr>
          <p:cNvPr id="11" name="Título 10">
            <a:extLst>
              <a:ext uri="{FF2B5EF4-FFF2-40B4-BE49-F238E27FC236}">
                <a16:creationId xmlns:a16="http://schemas.microsoft.com/office/drawing/2014/main" id="{28299D7B-B895-FE0B-71C6-714C019AEB69}"/>
              </a:ext>
            </a:extLst>
          </p:cNvPr>
          <p:cNvSpPr>
            <a:spLocks noGrp="1"/>
          </p:cNvSpPr>
          <p:nvPr>
            <p:ph type="title"/>
          </p:nvPr>
        </p:nvSpPr>
        <p:spPr/>
        <p:txBody>
          <a:bodyPr vert="horz"/>
          <a:lstStyle/>
          <a:p>
            <a:r>
              <a:rPr lang="es-CL" dirty="0"/>
              <a:t>Anteproyectos</a:t>
            </a:r>
            <a:endParaRPr lang="es-CL" dirty="0">
              <a:latin typeface="Montserrat" panose="00000500000000000000" pitchFamily="2" charset="0"/>
            </a:endParaRPr>
          </a:p>
        </p:txBody>
      </p:sp>
      <p:pic>
        <p:nvPicPr>
          <p:cNvPr id="15" name="Imagen 14">
            <a:extLst>
              <a:ext uri="{FF2B5EF4-FFF2-40B4-BE49-F238E27FC236}">
                <a16:creationId xmlns:a16="http://schemas.microsoft.com/office/drawing/2014/main" id="{C4862D77-7101-116B-D55F-5B8EF5163D89}"/>
              </a:ext>
            </a:extLst>
          </p:cNvPr>
          <p:cNvPicPr>
            <a:picLocks noChangeAspect="1"/>
          </p:cNvPicPr>
          <p:nvPr/>
        </p:nvPicPr>
        <p:blipFill>
          <a:blip r:embed="rId11">
            <a:alphaModFix amt="35000"/>
          </a:blip>
          <a:stretch>
            <a:fillRect/>
          </a:stretch>
        </p:blipFill>
        <p:spPr>
          <a:xfrm>
            <a:off x="4962307" y="2926838"/>
            <a:ext cx="2078833" cy="2078833"/>
          </a:xfrm>
          <a:prstGeom prst="ellipse">
            <a:avLst/>
          </a:prstGeom>
          <a:ln>
            <a:noFill/>
          </a:ln>
          <a:effectLst>
            <a:softEdge rad="112500"/>
          </a:effectLst>
        </p:spPr>
      </p:pic>
      <p:pic>
        <p:nvPicPr>
          <p:cNvPr id="23" name="Imagen 22" descr="Imagen que contiene cuarto, diferente, diversos, montón&#10;&#10;Descripción generada automáticamente">
            <a:extLst>
              <a:ext uri="{FF2B5EF4-FFF2-40B4-BE49-F238E27FC236}">
                <a16:creationId xmlns:a16="http://schemas.microsoft.com/office/drawing/2014/main" id="{87CB60E9-A48D-8AFC-F94E-97F44DB4F979}"/>
              </a:ext>
            </a:extLst>
          </p:cNvPr>
          <p:cNvPicPr>
            <a:picLocks noChangeAspect="1"/>
          </p:cNvPicPr>
          <p:nvPr/>
        </p:nvPicPr>
        <p:blipFill rotWithShape="1">
          <a:blip r:embed="rId12">
            <a:extLst>
              <a:ext uri="{BEBA8EAE-BF5A-486C-A8C5-ECC9F3942E4B}">
                <a14:imgProps xmlns:a14="http://schemas.microsoft.com/office/drawing/2010/main">
                  <a14:imgLayer r:embed="rId13">
                    <a14:imgEffect>
                      <a14:backgroundRemoval t="25663" b="45968" l="4862" r="23864">
                        <a14:foregroundMark x1="10747" y1="27232" x2="7798" y2="27232"/>
                        <a14:backgroundMark x1="13455" y1="36242" x2="13455" y2="36242"/>
                        <a14:backgroundMark x1="16444" y1="36081" x2="16444" y2="36081"/>
                        <a14:backgroundMark x1="15354" y1="33455" x2="15354" y2="33455"/>
                        <a14:backgroundMark x1="16444" y1="33697" x2="16444" y2="33697"/>
                        <a14:backgroundMark x1="16364" y1="37374" x2="16364" y2="37374"/>
                        <a14:backgroundMark x1="16566" y1="33657" x2="16566" y2="33657"/>
                      </a14:backgroundRemoval>
                    </a14:imgEffect>
                  </a14:imgLayer>
                </a14:imgProps>
              </a:ext>
              <a:ext uri="{28A0092B-C50C-407E-A947-70E740481C1C}">
                <a14:useLocalDpi xmlns:a14="http://schemas.microsoft.com/office/drawing/2010/main" val="0"/>
              </a:ext>
            </a:extLst>
          </a:blip>
          <a:srcRect l="5234" t="25364" r="78226" b="54999"/>
          <a:stretch/>
        </p:blipFill>
        <p:spPr>
          <a:xfrm>
            <a:off x="4386020" y="4875057"/>
            <a:ext cx="629642" cy="787781"/>
          </a:xfrm>
          <a:prstGeom prst="rect">
            <a:avLst/>
          </a:prstGeom>
        </p:spPr>
      </p:pic>
      <p:sp>
        <p:nvSpPr>
          <p:cNvPr id="2" name="Rectángulo: esquinas redondeadas 1">
            <a:extLst>
              <a:ext uri="{FF2B5EF4-FFF2-40B4-BE49-F238E27FC236}">
                <a16:creationId xmlns:a16="http://schemas.microsoft.com/office/drawing/2014/main" id="{1EC1DB70-B042-37CB-A616-5C020176BB1C}"/>
              </a:ext>
            </a:extLst>
          </p:cNvPr>
          <p:cNvSpPr/>
          <p:nvPr/>
        </p:nvSpPr>
        <p:spPr>
          <a:xfrm>
            <a:off x="1208052" y="2138347"/>
            <a:ext cx="2929124" cy="646332"/>
          </a:xfrm>
          <a:prstGeom prst="roundRect">
            <a:avLst/>
          </a:prstGeom>
          <a:solidFill>
            <a:schemeClr val="bg1"/>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6" name="Rectángulo: esquinas redondeadas 5">
            <a:extLst>
              <a:ext uri="{FF2B5EF4-FFF2-40B4-BE49-F238E27FC236}">
                <a16:creationId xmlns:a16="http://schemas.microsoft.com/office/drawing/2014/main" id="{4BE5ED65-5C0E-E399-BCB3-539D415E41B3}"/>
              </a:ext>
            </a:extLst>
          </p:cNvPr>
          <p:cNvSpPr/>
          <p:nvPr/>
        </p:nvSpPr>
        <p:spPr>
          <a:xfrm>
            <a:off x="4046884" y="2822886"/>
            <a:ext cx="1246171" cy="33297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Trenes</a:t>
            </a:r>
          </a:p>
        </p:txBody>
      </p:sp>
      <p:sp>
        <p:nvSpPr>
          <p:cNvPr id="8" name="CuadroTexto 7">
            <a:extLst>
              <a:ext uri="{FF2B5EF4-FFF2-40B4-BE49-F238E27FC236}">
                <a16:creationId xmlns:a16="http://schemas.microsoft.com/office/drawing/2014/main" id="{A1A2C379-BF91-CA18-B3FA-5C961F113DCA}"/>
              </a:ext>
            </a:extLst>
          </p:cNvPr>
          <p:cNvSpPr txBox="1"/>
          <p:nvPr/>
        </p:nvSpPr>
        <p:spPr>
          <a:xfrm>
            <a:off x="1168670" y="2138505"/>
            <a:ext cx="2929124" cy="646331"/>
          </a:xfrm>
          <a:prstGeom prst="rect">
            <a:avLst/>
          </a:prstGeom>
          <a:noFill/>
        </p:spPr>
        <p:txBody>
          <a:bodyPr wrap="square" rtlCol="0">
            <a:spAutoFit/>
          </a:bodyPr>
          <a:lstStyle/>
          <a:p>
            <a:pPr marL="171450" indent="-171450">
              <a:buFont typeface="Wingdings" panose="05000000000000000000" pitchFamily="2" charset="2"/>
              <a:buChar char="§"/>
            </a:pPr>
            <a:r>
              <a:rPr lang="es-ES" sz="1200" dirty="0">
                <a:latin typeface="Montserrat" panose="00000500000000000000" pitchFamily="2" charset="0"/>
              </a:rPr>
              <a:t>Comunicación de CCO a trenes </a:t>
            </a:r>
          </a:p>
          <a:p>
            <a:pPr marL="171450" indent="-171450">
              <a:buFont typeface="Wingdings" panose="05000000000000000000" pitchFamily="2" charset="2"/>
              <a:buChar char="§"/>
            </a:pPr>
            <a:r>
              <a:rPr lang="es-ES" sz="1200" dirty="0">
                <a:latin typeface="Montserrat" panose="00000500000000000000" pitchFamily="2" charset="0"/>
              </a:rPr>
              <a:t>Reposición trenes</a:t>
            </a:r>
          </a:p>
          <a:p>
            <a:pPr marL="171450" indent="-171450">
              <a:buFont typeface="Wingdings" panose="05000000000000000000" pitchFamily="2" charset="2"/>
              <a:buChar char="§"/>
            </a:pPr>
            <a:r>
              <a:rPr lang="es-ES" sz="1200" dirty="0">
                <a:latin typeface="Montserrat" panose="00000500000000000000" pitchFamily="2" charset="0"/>
              </a:rPr>
              <a:t>Implementación de A/C trenes</a:t>
            </a:r>
          </a:p>
        </p:txBody>
      </p:sp>
      <p:sp>
        <p:nvSpPr>
          <p:cNvPr id="21" name="Rectángulo: esquinas redondeadas 20">
            <a:extLst>
              <a:ext uri="{FF2B5EF4-FFF2-40B4-BE49-F238E27FC236}">
                <a16:creationId xmlns:a16="http://schemas.microsoft.com/office/drawing/2014/main" id="{7D8E1137-E08A-5400-FAFC-CAE63C74D116}"/>
              </a:ext>
            </a:extLst>
          </p:cNvPr>
          <p:cNvSpPr/>
          <p:nvPr/>
        </p:nvSpPr>
        <p:spPr>
          <a:xfrm>
            <a:off x="3534626" y="4273913"/>
            <a:ext cx="1246171" cy="33297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Sistemas</a:t>
            </a:r>
          </a:p>
        </p:txBody>
      </p:sp>
      <p:pic>
        <p:nvPicPr>
          <p:cNvPr id="28" name="Imagen 27">
            <a:extLst>
              <a:ext uri="{FF2B5EF4-FFF2-40B4-BE49-F238E27FC236}">
                <a16:creationId xmlns:a16="http://schemas.microsoft.com/office/drawing/2014/main" id="{A02E8EC1-E4B1-648A-DA3D-252921B65DBF}"/>
              </a:ext>
            </a:extLst>
          </p:cNvPr>
          <p:cNvPicPr>
            <a:picLocks noChangeAspect="1"/>
          </p:cNvPicPr>
          <p:nvPr/>
        </p:nvPicPr>
        <p:blipFill>
          <a:blip r:embed="rId14"/>
          <a:stretch>
            <a:fillRect/>
          </a:stretch>
        </p:blipFill>
        <p:spPr>
          <a:xfrm>
            <a:off x="4233631" y="2050032"/>
            <a:ext cx="877700" cy="877700"/>
          </a:xfrm>
          <a:prstGeom prst="rect">
            <a:avLst/>
          </a:prstGeom>
        </p:spPr>
      </p:pic>
      <p:pic>
        <p:nvPicPr>
          <p:cNvPr id="29" name="Imagen 28">
            <a:extLst>
              <a:ext uri="{FF2B5EF4-FFF2-40B4-BE49-F238E27FC236}">
                <a16:creationId xmlns:a16="http://schemas.microsoft.com/office/drawing/2014/main" id="{24E96C48-CBD7-27BF-003F-3D2C11543393}"/>
              </a:ext>
            </a:extLst>
          </p:cNvPr>
          <p:cNvPicPr>
            <a:picLocks noChangeAspect="1"/>
          </p:cNvPicPr>
          <p:nvPr/>
        </p:nvPicPr>
        <p:blipFill>
          <a:blip r:embed="rId15"/>
          <a:stretch>
            <a:fillRect/>
          </a:stretch>
        </p:blipFill>
        <p:spPr>
          <a:xfrm>
            <a:off x="3829135" y="3491028"/>
            <a:ext cx="750423" cy="794404"/>
          </a:xfrm>
          <a:prstGeom prst="rect">
            <a:avLst/>
          </a:prstGeom>
        </p:spPr>
      </p:pic>
      <p:grpSp>
        <p:nvGrpSpPr>
          <p:cNvPr id="37" name="Grupo 36">
            <a:extLst>
              <a:ext uri="{FF2B5EF4-FFF2-40B4-BE49-F238E27FC236}">
                <a16:creationId xmlns:a16="http://schemas.microsoft.com/office/drawing/2014/main" id="{2317C844-265E-DB80-E738-EF3383BC750F}"/>
              </a:ext>
            </a:extLst>
          </p:cNvPr>
          <p:cNvGrpSpPr/>
          <p:nvPr/>
        </p:nvGrpSpPr>
        <p:grpSpPr>
          <a:xfrm>
            <a:off x="211404" y="583741"/>
            <a:ext cx="3799129" cy="1402062"/>
            <a:chOff x="1089060" y="282791"/>
            <a:chExt cx="4479533" cy="2242898"/>
          </a:xfrm>
        </p:grpSpPr>
        <p:sp>
          <p:nvSpPr>
            <p:cNvPr id="45" name="Rectángulo: esquinas redondeadas 44">
              <a:extLst>
                <a:ext uri="{FF2B5EF4-FFF2-40B4-BE49-F238E27FC236}">
                  <a16:creationId xmlns:a16="http://schemas.microsoft.com/office/drawing/2014/main" id="{F4E0C477-A671-35B8-2B0F-EEA7834C1961}"/>
                </a:ext>
              </a:extLst>
            </p:cNvPr>
            <p:cNvSpPr/>
            <p:nvPr/>
          </p:nvSpPr>
          <p:spPr>
            <a:xfrm>
              <a:off x="1089060" y="282791"/>
              <a:ext cx="4479533" cy="2242898"/>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47" name="Rectángulo: esquinas redondeadas 46">
              <a:extLst>
                <a:ext uri="{FF2B5EF4-FFF2-40B4-BE49-F238E27FC236}">
                  <a16:creationId xmlns:a16="http://schemas.microsoft.com/office/drawing/2014/main" id="{0ABDBCA0-8BBB-EA9B-3F05-0D80AF1EF149}"/>
                </a:ext>
              </a:extLst>
            </p:cNvPr>
            <p:cNvSpPr/>
            <p:nvPr/>
          </p:nvSpPr>
          <p:spPr>
            <a:xfrm>
              <a:off x="1212350" y="403685"/>
              <a:ext cx="4232952" cy="200338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latin typeface="Montserrat" panose="00000500000000000000" pitchFamily="2" charset="0"/>
              </a:endParaRPr>
            </a:p>
          </p:txBody>
        </p:sp>
        <p:sp>
          <p:nvSpPr>
            <p:cNvPr id="48" name="CuadroTexto 47">
              <a:extLst>
                <a:ext uri="{FF2B5EF4-FFF2-40B4-BE49-F238E27FC236}">
                  <a16:creationId xmlns:a16="http://schemas.microsoft.com/office/drawing/2014/main" id="{B033F375-9E9F-EC93-D6C2-CC19C5FCAA51}"/>
                </a:ext>
              </a:extLst>
            </p:cNvPr>
            <p:cNvSpPr txBox="1"/>
            <p:nvPr/>
          </p:nvSpPr>
          <p:spPr>
            <a:xfrm>
              <a:off x="1275230" y="875880"/>
              <a:ext cx="4096651" cy="935473"/>
            </a:xfrm>
            <a:prstGeom prst="rect">
              <a:avLst/>
            </a:prstGeom>
            <a:noFill/>
          </p:spPr>
          <p:txBody>
            <a:bodyPr wrap="square">
              <a:spAutoFit/>
            </a:bodyPr>
            <a:lstStyle/>
            <a:p>
              <a:pPr algn="ctr"/>
              <a:r>
                <a:rPr kumimoji="0" lang="es-CL" sz="1600" b="1" i="0" u="none" strike="noStrike" kern="1200" cap="none" spc="0" normalizeH="0" baseline="0" noProof="0" dirty="0">
                  <a:ln>
                    <a:noFill/>
                  </a:ln>
                  <a:effectLst/>
                  <a:uLnTx/>
                  <a:uFillTx/>
                  <a:latin typeface="Montserrat" panose="00000500000000000000" pitchFamily="2" charset="0"/>
                </a:rPr>
                <a:t>Iniciativas que se desarrollarán a futuro:</a:t>
              </a:r>
            </a:p>
          </p:txBody>
        </p:sp>
      </p:grpSp>
    </p:spTree>
    <p:extLst>
      <p:ext uri="{BB962C8B-B14F-4D97-AF65-F5344CB8AC3E}">
        <p14:creationId xmlns:p14="http://schemas.microsoft.com/office/powerpoint/2010/main" val="31861507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411C96-3F89-F691-88D8-9291CAE2DFD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6C8898-C499-7198-1094-F15B686DA496}"/>
              </a:ext>
            </a:extLst>
          </p:cNvPr>
          <p:cNvGraphicFramePr>
            <a:graphicFrameLocks noChangeAspect="1"/>
          </p:cNvGraphicFramePr>
          <p:nvPr>
            <p:custDataLst>
              <p:tags r:id="rId2"/>
            </p:custDataLst>
            <p:extLst>
              <p:ext uri="{D42A27DB-BD31-4B8C-83A1-F6EECF244321}">
                <p14:modId xmlns:p14="http://schemas.microsoft.com/office/powerpoint/2010/main" val="280534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Diapositiva de think-cell" r:id="rId5" imgW="395" imgH="394" progId="TCLayout.ActiveDocument.1">
                  <p:embed/>
                </p:oleObj>
              </mc:Choice>
              <mc:Fallback>
                <p:oleObj name="Diapositiva de think-cell" r:id="rId5" imgW="395" imgH="394" progId="TCLayout.ActiveDocument.1">
                  <p:embed/>
                  <p:pic>
                    <p:nvPicPr>
                      <p:cNvPr id="5" name="think-cell data - do not delete" hidden="1">
                        <a:extLst>
                          <a:ext uri="{FF2B5EF4-FFF2-40B4-BE49-F238E27FC236}">
                            <a16:creationId xmlns:a16="http://schemas.microsoft.com/office/drawing/2014/main" id="{DE6C8898-C499-7198-1094-F15B686DA4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12" name="Conector recto 111">
            <a:extLst>
              <a:ext uri="{FF2B5EF4-FFF2-40B4-BE49-F238E27FC236}">
                <a16:creationId xmlns:a16="http://schemas.microsoft.com/office/drawing/2014/main" id="{C50E5AA1-6C6F-B765-FB48-FBD7D9134539}"/>
              </a:ext>
            </a:extLst>
          </p:cNvPr>
          <p:cNvCxnSpPr>
            <a:cxnSpLocks/>
          </p:cNvCxnSpPr>
          <p:nvPr/>
        </p:nvCxnSpPr>
        <p:spPr>
          <a:xfrm>
            <a:off x="6636659" y="65970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7" name="Conector recto 6">
            <a:extLst>
              <a:ext uri="{FF2B5EF4-FFF2-40B4-BE49-F238E27FC236}">
                <a16:creationId xmlns:a16="http://schemas.microsoft.com/office/drawing/2014/main" id="{D8AF063F-19E7-7EF1-D8EC-6561461EE7F7}"/>
              </a:ext>
            </a:extLst>
          </p:cNvPr>
          <p:cNvCxnSpPr>
            <a:cxnSpLocks/>
          </p:cNvCxnSpPr>
          <p:nvPr/>
        </p:nvCxnSpPr>
        <p:spPr>
          <a:xfrm>
            <a:off x="4338677"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8" name="Conector recto 7">
            <a:extLst>
              <a:ext uri="{FF2B5EF4-FFF2-40B4-BE49-F238E27FC236}">
                <a16:creationId xmlns:a16="http://schemas.microsoft.com/office/drawing/2014/main" id="{8AD7F38C-4DF7-A878-8563-A7DB125CC040}"/>
              </a:ext>
            </a:extLst>
          </p:cNvPr>
          <p:cNvCxnSpPr>
            <a:cxnSpLocks/>
          </p:cNvCxnSpPr>
          <p:nvPr/>
        </p:nvCxnSpPr>
        <p:spPr>
          <a:xfrm>
            <a:off x="5109449"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9" name="Conector recto 8">
            <a:extLst>
              <a:ext uri="{FF2B5EF4-FFF2-40B4-BE49-F238E27FC236}">
                <a16:creationId xmlns:a16="http://schemas.microsoft.com/office/drawing/2014/main" id="{100651A8-2D72-B295-084C-7CFA6C1B806B}"/>
              </a:ext>
            </a:extLst>
          </p:cNvPr>
          <p:cNvCxnSpPr>
            <a:cxnSpLocks/>
          </p:cNvCxnSpPr>
          <p:nvPr/>
        </p:nvCxnSpPr>
        <p:spPr>
          <a:xfrm>
            <a:off x="5880221"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1" name="Conector recto 10">
            <a:extLst>
              <a:ext uri="{FF2B5EF4-FFF2-40B4-BE49-F238E27FC236}">
                <a16:creationId xmlns:a16="http://schemas.microsoft.com/office/drawing/2014/main" id="{D9077019-8164-7B2C-BE0D-235C488C4CDD}"/>
              </a:ext>
            </a:extLst>
          </p:cNvPr>
          <p:cNvCxnSpPr>
            <a:cxnSpLocks/>
          </p:cNvCxnSpPr>
          <p:nvPr/>
        </p:nvCxnSpPr>
        <p:spPr>
          <a:xfrm>
            <a:off x="7421765"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2" name="Conector recto 11">
            <a:extLst>
              <a:ext uri="{FF2B5EF4-FFF2-40B4-BE49-F238E27FC236}">
                <a16:creationId xmlns:a16="http://schemas.microsoft.com/office/drawing/2014/main" id="{D7C7FBDC-6BE2-EF84-EA76-40E9971DF8AF}"/>
              </a:ext>
            </a:extLst>
          </p:cNvPr>
          <p:cNvCxnSpPr>
            <a:cxnSpLocks/>
          </p:cNvCxnSpPr>
          <p:nvPr/>
        </p:nvCxnSpPr>
        <p:spPr>
          <a:xfrm>
            <a:off x="8192537"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3" name="Conector recto 12">
            <a:extLst>
              <a:ext uri="{FF2B5EF4-FFF2-40B4-BE49-F238E27FC236}">
                <a16:creationId xmlns:a16="http://schemas.microsoft.com/office/drawing/2014/main" id="{DC42A048-0040-FDA6-C81E-BB16495209F4}"/>
              </a:ext>
            </a:extLst>
          </p:cNvPr>
          <p:cNvCxnSpPr>
            <a:cxnSpLocks/>
          </p:cNvCxnSpPr>
          <p:nvPr/>
        </p:nvCxnSpPr>
        <p:spPr>
          <a:xfrm>
            <a:off x="8963309"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4" name="Conector recto 13">
            <a:extLst>
              <a:ext uri="{FF2B5EF4-FFF2-40B4-BE49-F238E27FC236}">
                <a16:creationId xmlns:a16="http://schemas.microsoft.com/office/drawing/2014/main" id="{C32A5578-64A8-E042-7592-0FB4099EC9C9}"/>
              </a:ext>
            </a:extLst>
          </p:cNvPr>
          <p:cNvCxnSpPr>
            <a:cxnSpLocks/>
          </p:cNvCxnSpPr>
          <p:nvPr/>
        </p:nvCxnSpPr>
        <p:spPr>
          <a:xfrm>
            <a:off x="9734081"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5" name="Conector recto 14">
            <a:extLst>
              <a:ext uri="{FF2B5EF4-FFF2-40B4-BE49-F238E27FC236}">
                <a16:creationId xmlns:a16="http://schemas.microsoft.com/office/drawing/2014/main" id="{002E6C28-42B9-6BA1-5D28-2B9079856F0D}"/>
              </a:ext>
            </a:extLst>
          </p:cNvPr>
          <p:cNvCxnSpPr>
            <a:cxnSpLocks/>
          </p:cNvCxnSpPr>
          <p:nvPr/>
        </p:nvCxnSpPr>
        <p:spPr>
          <a:xfrm>
            <a:off x="10504853"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6" name="Conector recto 15">
            <a:extLst>
              <a:ext uri="{FF2B5EF4-FFF2-40B4-BE49-F238E27FC236}">
                <a16:creationId xmlns:a16="http://schemas.microsoft.com/office/drawing/2014/main" id="{2B3BCE32-5C28-02D3-5859-9BF6AAC1180D}"/>
              </a:ext>
            </a:extLst>
          </p:cNvPr>
          <p:cNvCxnSpPr>
            <a:cxnSpLocks/>
          </p:cNvCxnSpPr>
          <p:nvPr/>
        </p:nvCxnSpPr>
        <p:spPr>
          <a:xfrm>
            <a:off x="11275625" y="677780"/>
            <a:ext cx="0" cy="6120000"/>
          </a:xfrm>
          <a:prstGeom prst="line">
            <a:avLst/>
          </a:prstGeom>
          <a:ln w="12700">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8" name="Rectángulo: esquinas redondeadas 17">
            <a:extLst>
              <a:ext uri="{FF2B5EF4-FFF2-40B4-BE49-F238E27FC236}">
                <a16:creationId xmlns:a16="http://schemas.microsoft.com/office/drawing/2014/main" id="{CAA8B60A-3654-FDBD-BA88-6CE6FF2338FC}"/>
              </a:ext>
            </a:extLst>
          </p:cNvPr>
          <p:cNvSpPr/>
          <p:nvPr/>
        </p:nvSpPr>
        <p:spPr>
          <a:xfrm>
            <a:off x="358408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24</a:t>
            </a:r>
          </a:p>
        </p:txBody>
      </p:sp>
      <p:sp>
        <p:nvSpPr>
          <p:cNvPr id="19" name="Rectángulo: esquinas redondeadas 18">
            <a:extLst>
              <a:ext uri="{FF2B5EF4-FFF2-40B4-BE49-F238E27FC236}">
                <a16:creationId xmlns:a16="http://schemas.microsoft.com/office/drawing/2014/main" id="{62540822-8CF2-1AED-EAA7-0159B3B39296}"/>
              </a:ext>
            </a:extLst>
          </p:cNvPr>
          <p:cNvSpPr/>
          <p:nvPr/>
        </p:nvSpPr>
        <p:spPr>
          <a:xfrm>
            <a:off x="435562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25</a:t>
            </a:r>
          </a:p>
        </p:txBody>
      </p:sp>
      <p:sp>
        <p:nvSpPr>
          <p:cNvPr id="20" name="Rectángulo: esquinas redondeadas 19">
            <a:extLst>
              <a:ext uri="{FF2B5EF4-FFF2-40B4-BE49-F238E27FC236}">
                <a16:creationId xmlns:a16="http://schemas.microsoft.com/office/drawing/2014/main" id="{3D781BA2-A25A-23A9-FD9E-CA9B8B4F0153}"/>
              </a:ext>
            </a:extLst>
          </p:cNvPr>
          <p:cNvSpPr/>
          <p:nvPr/>
        </p:nvSpPr>
        <p:spPr>
          <a:xfrm>
            <a:off x="512716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26</a:t>
            </a:r>
          </a:p>
        </p:txBody>
      </p:sp>
      <p:sp>
        <p:nvSpPr>
          <p:cNvPr id="21" name="Rectángulo: esquinas redondeadas 20">
            <a:extLst>
              <a:ext uri="{FF2B5EF4-FFF2-40B4-BE49-F238E27FC236}">
                <a16:creationId xmlns:a16="http://schemas.microsoft.com/office/drawing/2014/main" id="{C9312A7D-D506-E411-0342-88D66C88A9B5}"/>
              </a:ext>
            </a:extLst>
          </p:cNvPr>
          <p:cNvSpPr/>
          <p:nvPr/>
        </p:nvSpPr>
        <p:spPr>
          <a:xfrm>
            <a:off x="589870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27</a:t>
            </a:r>
          </a:p>
        </p:txBody>
      </p:sp>
      <p:sp>
        <p:nvSpPr>
          <p:cNvPr id="22" name="Rectángulo: esquinas redondeadas 21">
            <a:extLst>
              <a:ext uri="{FF2B5EF4-FFF2-40B4-BE49-F238E27FC236}">
                <a16:creationId xmlns:a16="http://schemas.microsoft.com/office/drawing/2014/main" id="{DDF5BA4D-621A-B9A9-BF4F-BA2AA6EFCCF0}"/>
              </a:ext>
            </a:extLst>
          </p:cNvPr>
          <p:cNvSpPr/>
          <p:nvPr/>
        </p:nvSpPr>
        <p:spPr>
          <a:xfrm>
            <a:off x="667024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28</a:t>
            </a:r>
          </a:p>
        </p:txBody>
      </p:sp>
      <p:sp>
        <p:nvSpPr>
          <p:cNvPr id="23" name="Rectángulo: esquinas redondeadas 22">
            <a:extLst>
              <a:ext uri="{FF2B5EF4-FFF2-40B4-BE49-F238E27FC236}">
                <a16:creationId xmlns:a16="http://schemas.microsoft.com/office/drawing/2014/main" id="{FC268BA8-B0F0-823C-CCD5-60646B620266}"/>
              </a:ext>
            </a:extLst>
          </p:cNvPr>
          <p:cNvSpPr/>
          <p:nvPr/>
        </p:nvSpPr>
        <p:spPr>
          <a:xfrm>
            <a:off x="744178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29</a:t>
            </a:r>
          </a:p>
        </p:txBody>
      </p:sp>
      <p:sp>
        <p:nvSpPr>
          <p:cNvPr id="24" name="Rectángulo: esquinas redondeadas 23">
            <a:extLst>
              <a:ext uri="{FF2B5EF4-FFF2-40B4-BE49-F238E27FC236}">
                <a16:creationId xmlns:a16="http://schemas.microsoft.com/office/drawing/2014/main" id="{A4D8581B-5654-595D-3F87-FB60E23C702C}"/>
              </a:ext>
            </a:extLst>
          </p:cNvPr>
          <p:cNvSpPr/>
          <p:nvPr/>
        </p:nvSpPr>
        <p:spPr>
          <a:xfrm>
            <a:off x="821332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30</a:t>
            </a:r>
          </a:p>
        </p:txBody>
      </p:sp>
      <p:sp>
        <p:nvSpPr>
          <p:cNvPr id="25" name="Rectángulo: esquinas redondeadas 24">
            <a:extLst>
              <a:ext uri="{FF2B5EF4-FFF2-40B4-BE49-F238E27FC236}">
                <a16:creationId xmlns:a16="http://schemas.microsoft.com/office/drawing/2014/main" id="{3134F95D-D9F0-63B9-030C-36094F702F4F}"/>
              </a:ext>
            </a:extLst>
          </p:cNvPr>
          <p:cNvSpPr/>
          <p:nvPr/>
        </p:nvSpPr>
        <p:spPr>
          <a:xfrm>
            <a:off x="898486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31</a:t>
            </a:r>
          </a:p>
        </p:txBody>
      </p:sp>
      <p:sp>
        <p:nvSpPr>
          <p:cNvPr id="26" name="Rectángulo: esquinas redondeadas 25">
            <a:extLst>
              <a:ext uri="{FF2B5EF4-FFF2-40B4-BE49-F238E27FC236}">
                <a16:creationId xmlns:a16="http://schemas.microsoft.com/office/drawing/2014/main" id="{6B4AA648-22F4-F3DD-BC5F-E5B82AB9E512}"/>
              </a:ext>
            </a:extLst>
          </p:cNvPr>
          <p:cNvSpPr/>
          <p:nvPr/>
        </p:nvSpPr>
        <p:spPr>
          <a:xfrm>
            <a:off x="975640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32</a:t>
            </a:r>
          </a:p>
        </p:txBody>
      </p:sp>
      <p:sp>
        <p:nvSpPr>
          <p:cNvPr id="27" name="Rectángulo: esquinas redondeadas 26">
            <a:extLst>
              <a:ext uri="{FF2B5EF4-FFF2-40B4-BE49-F238E27FC236}">
                <a16:creationId xmlns:a16="http://schemas.microsoft.com/office/drawing/2014/main" id="{BD1B2C8A-9EEA-A826-5F5B-8DCFD76B654C}"/>
              </a:ext>
            </a:extLst>
          </p:cNvPr>
          <p:cNvSpPr/>
          <p:nvPr/>
        </p:nvSpPr>
        <p:spPr>
          <a:xfrm>
            <a:off x="10527943"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33</a:t>
            </a:r>
          </a:p>
        </p:txBody>
      </p:sp>
      <p:sp>
        <p:nvSpPr>
          <p:cNvPr id="2" name="Rectángulo: esquinas redondeadas 1">
            <a:extLst>
              <a:ext uri="{FF2B5EF4-FFF2-40B4-BE49-F238E27FC236}">
                <a16:creationId xmlns:a16="http://schemas.microsoft.com/office/drawing/2014/main" id="{38249746-794F-F0F0-A08A-88F3C13305B9}"/>
              </a:ext>
            </a:extLst>
          </p:cNvPr>
          <p:cNvSpPr/>
          <p:nvPr/>
        </p:nvSpPr>
        <p:spPr>
          <a:xfrm>
            <a:off x="522743" y="856862"/>
            <a:ext cx="3001747" cy="252000"/>
          </a:xfrm>
          <a:prstGeom prst="roundRect">
            <a:avLst>
              <a:gd name="adj" fmla="val 2840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Mejoramiento en dependencias de trabajadores</a:t>
            </a:r>
          </a:p>
        </p:txBody>
      </p:sp>
      <p:sp>
        <p:nvSpPr>
          <p:cNvPr id="28" name="Rectángulo: esquinas redondeadas 27">
            <a:extLst>
              <a:ext uri="{FF2B5EF4-FFF2-40B4-BE49-F238E27FC236}">
                <a16:creationId xmlns:a16="http://schemas.microsoft.com/office/drawing/2014/main" id="{3F51B596-13FB-97E6-ADEB-220B4D99C3BD}"/>
              </a:ext>
            </a:extLst>
          </p:cNvPr>
          <p:cNvSpPr/>
          <p:nvPr/>
        </p:nvSpPr>
        <p:spPr>
          <a:xfrm>
            <a:off x="11299486" y="529538"/>
            <a:ext cx="712063" cy="252001"/>
          </a:xfrm>
          <a:prstGeom prst="roundRect">
            <a:avLst/>
          </a:prstGeom>
          <a:solidFill>
            <a:srgbClr val="59595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a:ln>
                  <a:noFill/>
                </a:ln>
                <a:solidFill>
                  <a:prstClr val="white"/>
                </a:solidFill>
                <a:effectLst/>
                <a:uLnTx/>
                <a:uFillTx/>
                <a:latin typeface="Montserrat" panose="00000500000000000000" pitchFamily="2" charset="0"/>
              </a:rPr>
              <a:t>2034</a:t>
            </a:r>
          </a:p>
        </p:txBody>
      </p:sp>
      <p:sp>
        <p:nvSpPr>
          <p:cNvPr id="6" name="Rectángulo: esquinas redondeadas 5">
            <a:extLst>
              <a:ext uri="{FF2B5EF4-FFF2-40B4-BE49-F238E27FC236}">
                <a16:creationId xmlns:a16="http://schemas.microsoft.com/office/drawing/2014/main" id="{07AA51FC-6E57-7D61-4B60-FC756F838FE7}"/>
              </a:ext>
            </a:extLst>
          </p:cNvPr>
          <p:cNvSpPr/>
          <p:nvPr/>
        </p:nvSpPr>
        <p:spPr>
          <a:xfrm>
            <a:off x="526799" y="2080959"/>
            <a:ext cx="1092933" cy="1017228"/>
          </a:xfrm>
          <a:prstGeom prst="roundRect">
            <a:avLst>
              <a:gd name="adj" fmla="val 18327"/>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Accesibilidad universal</a:t>
            </a:r>
          </a:p>
        </p:txBody>
      </p:sp>
      <p:sp>
        <p:nvSpPr>
          <p:cNvPr id="29" name="Flecha: a la derecha 28">
            <a:extLst>
              <a:ext uri="{FF2B5EF4-FFF2-40B4-BE49-F238E27FC236}">
                <a16:creationId xmlns:a16="http://schemas.microsoft.com/office/drawing/2014/main" id="{5EAF2643-CCFB-1FA5-87BA-8FB4EE4AC60A}"/>
              </a:ext>
            </a:extLst>
          </p:cNvPr>
          <p:cNvSpPr/>
          <p:nvPr/>
        </p:nvSpPr>
        <p:spPr>
          <a:xfrm>
            <a:off x="4201031" y="858222"/>
            <a:ext cx="5906977" cy="252000"/>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31" name="Flecha: a la derecha 30">
            <a:extLst>
              <a:ext uri="{FF2B5EF4-FFF2-40B4-BE49-F238E27FC236}">
                <a16:creationId xmlns:a16="http://schemas.microsoft.com/office/drawing/2014/main" id="{EEAA304F-00F2-136A-B329-70B42B8E62C5}"/>
              </a:ext>
            </a:extLst>
          </p:cNvPr>
          <p:cNvSpPr/>
          <p:nvPr/>
        </p:nvSpPr>
        <p:spPr>
          <a:xfrm>
            <a:off x="4593755" y="2080959"/>
            <a:ext cx="1741342" cy="223188"/>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53" name="Rectángulo: esquinas redondeadas 52">
            <a:extLst>
              <a:ext uri="{FF2B5EF4-FFF2-40B4-BE49-F238E27FC236}">
                <a16:creationId xmlns:a16="http://schemas.microsoft.com/office/drawing/2014/main" id="{31BDE3F7-6E1C-3728-680D-8E41E6229F40}"/>
              </a:ext>
            </a:extLst>
          </p:cNvPr>
          <p:cNvSpPr/>
          <p:nvPr/>
        </p:nvSpPr>
        <p:spPr>
          <a:xfrm>
            <a:off x="1658041" y="2088147"/>
            <a:ext cx="1834321" cy="216000"/>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MX"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Información sobre el estado de los ascensores</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34" name="Rectángulo: esquinas redondeadas 33">
            <a:extLst>
              <a:ext uri="{FF2B5EF4-FFF2-40B4-BE49-F238E27FC236}">
                <a16:creationId xmlns:a16="http://schemas.microsoft.com/office/drawing/2014/main" id="{C152D556-849B-AAF0-77D7-3ED25AF4120B}"/>
              </a:ext>
            </a:extLst>
          </p:cNvPr>
          <p:cNvSpPr/>
          <p:nvPr/>
        </p:nvSpPr>
        <p:spPr>
          <a:xfrm>
            <a:off x="1658041" y="2352827"/>
            <a:ext cx="1834321" cy="216000"/>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ES"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Renovación del transporte vertical</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37" name="Rectángulo: esquinas redondeadas 36">
            <a:extLst>
              <a:ext uri="{FF2B5EF4-FFF2-40B4-BE49-F238E27FC236}">
                <a16:creationId xmlns:a16="http://schemas.microsoft.com/office/drawing/2014/main" id="{451091DF-2C8D-F691-8E9C-3077EF9F73E8}"/>
              </a:ext>
            </a:extLst>
          </p:cNvPr>
          <p:cNvSpPr/>
          <p:nvPr/>
        </p:nvSpPr>
        <p:spPr>
          <a:xfrm>
            <a:off x="1658041" y="2617507"/>
            <a:ext cx="1834321" cy="216000"/>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ES"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Ampliación del parque de transporte vertical</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40" name="Rectángulo: esquinas redondeadas 39">
            <a:extLst>
              <a:ext uri="{FF2B5EF4-FFF2-40B4-BE49-F238E27FC236}">
                <a16:creationId xmlns:a16="http://schemas.microsoft.com/office/drawing/2014/main" id="{FB2FF1F1-4010-7D85-17F9-9987F8F8121F}"/>
              </a:ext>
            </a:extLst>
          </p:cNvPr>
          <p:cNvSpPr/>
          <p:nvPr/>
        </p:nvSpPr>
        <p:spPr>
          <a:xfrm>
            <a:off x="1658041" y="2882187"/>
            <a:ext cx="1834321" cy="216000"/>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ES"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Corrección de brechas de accesibilidad en estaciones</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44" name="Rectángulo: esquinas redondeadas 43">
            <a:extLst>
              <a:ext uri="{FF2B5EF4-FFF2-40B4-BE49-F238E27FC236}">
                <a16:creationId xmlns:a16="http://schemas.microsoft.com/office/drawing/2014/main" id="{44E11007-FA56-6C6A-2CD4-19884C9E886F}"/>
              </a:ext>
            </a:extLst>
          </p:cNvPr>
          <p:cNvSpPr/>
          <p:nvPr/>
        </p:nvSpPr>
        <p:spPr>
          <a:xfrm>
            <a:off x="569963" y="1733522"/>
            <a:ext cx="2986143" cy="252000"/>
          </a:xfrm>
          <a:prstGeom prst="roundRect">
            <a:avLst>
              <a:gd name="adj" fmla="val 3056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Puertas de Andén</a:t>
            </a:r>
          </a:p>
        </p:txBody>
      </p:sp>
      <p:sp>
        <p:nvSpPr>
          <p:cNvPr id="46" name="Flecha: a la derecha 45">
            <a:extLst>
              <a:ext uri="{FF2B5EF4-FFF2-40B4-BE49-F238E27FC236}">
                <a16:creationId xmlns:a16="http://schemas.microsoft.com/office/drawing/2014/main" id="{D016EDE0-55AD-B61A-9042-12390B05CB24}"/>
              </a:ext>
            </a:extLst>
          </p:cNvPr>
          <p:cNvSpPr/>
          <p:nvPr/>
        </p:nvSpPr>
        <p:spPr>
          <a:xfrm>
            <a:off x="4785946" y="1733521"/>
            <a:ext cx="2491789" cy="252000"/>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47" name="Rectángulo: esquinas redondeadas 46">
            <a:extLst>
              <a:ext uri="{FF2B5EF4-FFF2-40B4-BE49-F238E27FC236}">
                <a16:creationId xmlns:a16="http://schemas.microsoft.com/office/drawing/2014/main" id="{B1C79FB8-E3FD-C869-BB70-E3DF29703E50}"/>
              </a:ext>
            </a:extLst>
          </p:cNvPr>
          <p:cNvSpPr/>
          <p:nvPr/>
        </p:nvSpPr>
        <p:spPr>
          <a:xfrm>
            <a:off x="526798" y="3163620"/>
            <a:ext cx="1137045" cy="547314"/>
          </a:xfrm>
          <a:prstGeom prst="roundRect">
            <a:avLst>
              <a:gd name="adj" fmla="val 26788"/>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Trenes</a:t>
            </a:r>
          </a:p>
        </p:txBody>
      </p:sp>
      <p:sp>
        <p:nvSpPr>
          <p:cNvPr id="54" name="Rectángulo: esquinas redondeadas 53">
            <a:extLst>
              <a:ext uri="{FF2B5EF4-FFF2-40B4-BE49-F238E27FC236}">
                <a16:creationId xmlns:a16="http://schemas.microsoft.com/office/drawing/2014/main" id="{1FF3E49D-412D-B2AE-A8AE-ADCA6E30C642}"/>
              </a:ext>
            </a:extLst>
          </p:cNvPr>
          <p:cNvSpPr/>
          <p:nvPr/>
        </p:nvSpPr>
        <p:spPr>
          <a:xfrm>
            <a:off x="1720960" y="3230254"/>
            <a:ext cx="1771402" cy="216000"/>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ES"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Implementación de aire acondicionado en trenes </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56" name="Flecha: a la derecha 55">
            <a:extLst>
              <a:ext uri="{FF2B5EF4-FFF2-40B4-BE49-F238E27FC236}">
                <a16:creationId xmlns:a16="http://schemas.microsoft.com/office/drawing/2014/main" id="{E3348008-DA19-F7CB-AF22-2688A62429F0}"/>
              </a:ext>
            </a:extLst>
          </p:cNvPr>
          <p:cNvSpPr/>
          <p:nvPr/>
        </p:nvSpPr>
        <p:spPr>
          <a:xfrm>
            <a:off x="7947679" y="3487746"/>
            <a:ext cx="3739330" cy="223188"/>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57" name="Rectángulo: esquinas redondeadas 56">
            <a:extLst>
              <a:ext uri="{FF2B5EF4-FFF2-40B4-BE49-F238E27FC236}">
                <a16:creationId xmlns:a16="http://schemas.microsoft.com/office/drawing/2014/main" id="{80255373-BC83-E659-356F-B9D450A69080}"/>
              </a:ext>
            </a:extLst>
          </p:cNvPr>
          <p:cNvSpPr/>
          <p:nvPr/>
        </p:nvSpPr>
        <p:spPr>
          <a:xfrm>
            <a:off x="1720960" y="3494934"/>
            <a:ext cx="1771402" cy="216000"/>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ES"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Reposición trenes NS74</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61" name="Flecha: a la derecha 60">
            <a:extLst>
              <a:ext uri="{FF2B5EF4-FFF2-40B4-BE49-F238E27FC236}">
                <a16:creationId xmlns:a16="http://schemas.microsoft.com/office/drawing/2014/main" id="{67E3CA88-8A59-0C5D-BA21-B1D0892B5DDB}"/>
              </a:ext>
            </a:extLst>
          </p:cNvPr>
          <p:cNvSpPr/>
          <p:nvPr/>
        </p:nvSpPr>
        <p:spPr>
          <a:xfrm>
            <a:off x="5873170" y="3223650"/>
            <a:ext cx="4394057" cy="214840"/>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62" name="Rectángulo: esquinas redondeadas 61">
            <a:extLst>
              <a:ext uri="{FF2B5EF4-FFF2-40B4-BE49-F238E27FC236}">
                <a16:creationId xmlns:a16="http://schemas.microsoft.com/office/drawing/2014/main" id="{3E60A8DE-9F24-D3D4-5197-2B7EA2C063ED}"/>
              </a:ext>
            </a:extLst>
          </p:cNvPr>
          <p:cNvSpPr/>
          <p:nvPr/>
        </p:nvSpPr>
        <p:spPr>
          <a:xfrm>
            <a:off x="526798" y="3796305"/>
            <a:ext cx="1137045" cy="842692"/>
          </a:xfrm>
          <a:prstGeom prst="roundRect">
            <a:avLst>
              <a:gd name="adj" fmla="val 14583"/>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MX"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Mejoramiento de la experiencia del cliente</a:t>
            </a:r>
          </a:p>
        </p:txBody>
      </p:sp>
      <p:sp>
        <p:nvSpPr>
          <p:cNvPr id="76" name="Flecha: a la derecha 75">
            <a:extLst>
              <a:ext uri="{FF2B5EF4-FFF2-40B4-BE49-F238E27FC236}">
                <a16:creationId xmlns:a16="http://schemas.microsoft.com/office/drawing/2014/main" id="{26449C70-3DCD-097F-1617-5B25E49B88A6}"/>
              </a:ext>
            </a:extLst>
          </p:cNvPr>
          <p:cNvSpPr/>
          <p:nvPr/>
        </p:nvSpPr>
        <p:spPr>
          <a:xfrm>
            <a:off x="4441670" y="3797391"/>
            <a:ext cx="5308493" cy="221063"/>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srgbClr val="DCAED4"/>
              </a:solidFill>
              <a:effectLst/>
              <a:uLnTx/>
              <a:uFillTx/>
              <a:latin typeface="Montserrat" panose="00000500000000000000" pitchFamily="2" charset="0"/>
            </a:endParaRPr>
          </a:p>
        </p:txBody>
      </p:sp>
      <p:sp>
        <p:nvSpPr>
          <p:cNvPr id="77" name="Rectángulo: esquinas redondeadas 76">
            <a:extLst>
              <a:ext uri="{FF2B5EF4-FFF2-40B4-BE49-F238E27FC236}">
                <a16:creationId xmlns:a16="http://schemas.microsoft.com/office/drawing/2014/main" id="{9C027FEF-A6FC-3440-1F54-0EC51567B581}"/>
              </a:ext>
            </a:extLst>
          </p:cNvPr>
          <p:cNvSpPr/>
          <p:nvPr/>
        </p:nvSpPr>
        <p:spPr>
          <a:xfrm>
            <a:off x="1712213" y="3804580"/>
            <a:ext cx="1771402" cy="216000"/>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ES"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Revalorización del interior de las estaciones de la red convencional</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82" name="Rectángulo: esquinas redondeadas 81">
            <a:extLst>
              <a:ext uri="{FF2B5EF4-FFF2-40B4-BE49-F238E27FC236}">
                <a16:creationId xmlns:a16="http://schemas.microsoft.com/office/drawing/2014/main" id="{BA2CC1EE-4FB2-6097-761D-42CF8E364751}"/>
              </a:ext>
            </a:extLst>
          </p:cNvPr>
          <p:cNvSpPr/>
          <p:nvPr/>
        </p:nvSpPr>
        <p:spPr>
          <a:xfrm>
            <a:off x="1712213" y="4097452"/>
            <a:ext cx="1771402" cy="216000"/>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ES"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Robustecer el equipamiento de seguridad</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84" name="Rectángulo: esquinas redondeadas 83">
            <a:extLst>
              <a:ext uri="{FF2B5EF4-FFF2-40B4-BE49-F238E27FC236}">
                <a16:creationId xmlns:a16="http://schemas.microsoft.com/office/drawing/2014/main" id="{1DD8A125-4314-F48B-1751-35914ED76727}"/>
              </a:ext>
            </a:extLst>
          </p:cNvPr>
          <p:cNvSpPr/>
          <p:nvPr/>
        </p:nvSpPr>
        <p:spPr>
          <a:xfrm>
            <a:off x="1712213" y="4362131"/>
            <a:ext cx="1771402" cy="259017"/>
          </a:xfrm>
          <a:prstGeom prst="roundRect">
            <a:avLst>
              <a:gd name="adj" fmla="val 26582"/>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ES"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Digitalización y modernización del sistema de información</a:t>
            </a:r>
            <a:endParaRPr kumimoji="0" lang="es-CL" sz="750" b="0"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87" name="Flecha: a la derecha 86">
            <a:extLst>
              <a:ext uri="{FF2B5EF4-FFF2-40B4-BE49-F238E27FC236}">
                <a16:creationId xmlns:a16="http://schemas.microsoft.com/office/drawing/2014/main" id="{2B5D60CE-B0B0-6103-9788-7B02335F4F10}"/>
              </a:ext>
            </a:extLst>
          </p:cNvPr>
          <p:cNvSpPr/>
          <p:nvPr/>
        </p:nvSpPr>
        <p:spPr>
          <a:xfrm>
            <a:off x="4370355" y="2885789"/>
            <a:ext cx="2437434" cy="202584"/>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88" name="Flecha: a la derecha 87">
            <a:extLst>
              <a:ext uri="{FF2B5EF4-FFF2-40B4-BE49-F238E27FC236}">
                <a16:creationId xmlns:a16="http://schemas.microsoft.com/office/drawing/2014/main" id="{9E3BFF71-C06B-1530-1C51-DB12A913F12F}"/>
              </a:ext>
            </a:extLst>
          </p:cNvPr>
          <p:cNvSpPr/>
          <p:nvPr/>
        </p:nvSpPr>
        <p:spPr>
          <a:xfrm>
            <a:off x="4887737" y="2617194"/>
            <a:ext cx="1182352" cy="213654"/>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89" name="Flecha: a la derecha 88">
            <a:extLst>
              <a:ext uri="{FF2B5EF4-FFF2-40B4-BE49-F238E27FC236}">
                <a16:creationId xmlns:a16="http://schemas.microsoft.com/office/drawing/2014/main" id="{1AEAFEE6-57AD-8F60-4BD8-433B6DD23F6F}"/>
              </a:ext>
            </a:extLst>
          </p:cNvPr>
          <p:cNvSpPr/>
          <p:nvPr/>
        </p:nvSpPr>
        <p:spPr>
          <a:xfrm>
            <a:off x="4448887" y="2349178"/>
            <a:ext cx="7653463" cy="218484"/>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93" name="Rectángulo 92">
            <a:extLst>
              <a:ext uri="{FF2B5EF4-FFF2-40B4-BE49-F238E27FC236}">
                <a16:creationId xmlns:a16="http://schemas.microsoft.com/office/drawing/2014/main" id="{1DC5B59F-751B-2014-24D9-FE77E03F2F7D}"/>
              </a:ext>
            </a:extLst>
          </p:cNvPr>
          <p:cNvSpPr/>
          <p:nvPr/>
        </p:nvSpPr>
        <p:spPr>
          <a:xfrm>
            <a:off x="7081497" y="1743409"/>
            <a:ext cx="1043152" cy="23646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Toda Línea 1 </a:t>
            </a:r>
            <a:b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b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con PDA</a:t>
            </a:r>
          </a:p>
        </p:txBody>
      </p:sp>
      <p:sp>
        <p:nvSpPr>
          <p:cNvPr id="95" name="Estrella: 5 puntas 94">
            <a:extLst>
              <a:ext uri="{FF2B5EF4-FFF2-40B4-BE49-F238E27FC236}">
                <a16:creationId xmlns:a16="http://schemas.microsoft.com/office/drawing/2014/main" id="{61B6EDC7-40FF-17DD-F0CC-2852F54275A0}"/>
              </a:ext>
            </a:extLst>
          </p:cNvPr>
          <p:cNvSpPr/>
          <p:nvPr/>
        </p:nvSpPr>
        <p:spPr>
          <a:xfrm>
            <a:off x="7125300" y="1773631"/>
            <a:ext cx="122047" cy="126214"/>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33" name="Rectángulo: esquinas redondeadas 32">
            <a:extLst>
              <a:ext uri="{FF2B5EF4-FFF2-40B4-BE49-F238E27FC236}">
                <a16:creationId xmlns:a16="http://schemas.microsoft.com/office/drawing/2014/main" id="{D3144F2C-5AB1-F739-EAF5-EACC0583CDBF}"/>
              </a:ext>
            </a:extLst>
          </p:cNvPr>
          <p:cNvSpPr/>
          <p:nvPr/>
        </p:nvSpPr>
        <p:spPr>
          <a:xfrm>
            <a:off x="523990" y="5450489"/>
            <a:ext cx="2959102" cy="366412"/>
          </a:xfrm>
          <a:prstGeom prst="roundRect">
            <a:avLst>
              <a:gd name="adj" fmla="val 27434"/>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Señalización y Vías</a:t>
            </a:r>
          </a:p>
        </p:txBody>
      </p:sp>
      <p:sp>
        <p:nvSpPr>
          <p:cNvPr id="36" name="Rectángulo: esquinas redondeadas 35">
            <a:extLst>
              <a:ext uri="{FF2B5EF4-FFF2-40B4-BE49-F238E27FC236}">
                <a16:creationId xmlns:a16="http://schemas.microsoft.com/office/drawing/2014/main" id="{D8C69BDE-BA34-6CB9-6006-E880D4A032E1}"/>
              </a:ext>
            </a:extLst>
          </p:cNvPr>
          <p:cNvSpPr/>
          <p:nvPr/>
        </p:nvSpPr>
        <p:spPr>
          <a:xfrm>
            <a:off x="525960" y="5857837"/>
            <a:ext cx="2974075" cy="337203"/>
          </a:xfrm>
          <a:prstGeom prst="roundRect">
            <a:avLst>
              <a:gd name="adj" fmla="val 2715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Modernización de infraestructura de operaciones y mantenimiento</a:t>
            </a:r>
          </a:p>
        </p:txBody>
      </p:sp>
      <p:sp>
        <p:nvSpPr>
          <p:cNvPr id="39" name="Rectángulo: esquinas redondeadas 38">
            <a:extLst>
              <a:ext uri="{FF2B5EF4-FFF2-40B4-BE49-F238E27FC236}">
                <a16:creationId xmlns:a16="http://schemas.microsoft.com/office/drawing/2014/main" id="{448144CA-D179-E7FE-7F73-D69078DE2B4A}"/>
              </a:ext>
            </a:extLst>
          </p:cNvPr>
          <p:cNvSpPr/>
          <p:nvPr/>
        </p:nvSpPr>
        <p:spPr>
          <a:xfrm>
            <a:off x="522743" y="6235977"/>
            <a:ext cx="2983735" cy="366412"/>
          </a:xfrm>
          <a:prstGeom prst="roundRect">
            <a:avLst>
              <a:gd name="adj" fmla="val 3272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Sistemas</a:t>
            </a:r>
          </a:p>
        </p:txBody>
      </p:sp>
      <p:sp>
        <p:nvSpPr>
          <p:cNvPr id="100" name="Flecha: a la derecha 99">
            <a:extLst>
              <a:ext uri="{FF2B5EF4-FFF2-40B4-BE49-F238E27FC236}">
                <a16:creationId xmlns:a16="http://schemas.microsoft.com/office/drawing/2014/main" id="{A85EC850-5A61-8369-BE72-849EEE1850D8}"/>
              </a:ext>
            </a:extLst>
          </p:cNvPr>
          <p:cNvSpPr/>
          <p:nvPr/>
        </p:nvSpPr>
        <p:spPr>
          <a:xfrm>
            <a:off x="4017533" y="5447086"/>
            <a:ext cx="7996424" cy="360000"/>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s-CL" sz="14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43" name="Rectángulo: esquinas redondeadas 42">
            <a:extLst>
              <a:ext uri="{FF2B5EF4-FFF2-40B4-BE49-F238E27FC236}">
                <a16:creationId xmlns:a16="http://schemas.microsoft.com/office/drawing/2014/main" id="{3B5BE5BB-BB7A-C144-BE87-B9B93A7A8E85}"/>
              </a:ext>
            </a:extLst>
          </p:cNvPr>
          <p:cNvSpPr/>
          <p:nvPr/>
        </p:nvSpPr>
        <p:spPr>
          <a:xfrm rot="16200000">
            <a:off x="-1164263" y="2998285"/>
            <a:ext cx="2919011" cy="362412"/>
          </a:xfrm>
          <a:prstGeom prst="roundRect">
            <a:avLst>
              <a:gd name="adj" fmla="val 33438"/>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1100" b="1" i="0" u="none" strike="noStrike" kern="1200" cap="none" spc="0" normalizeH="0" baseline="0" noProof="0">
                <a:ln>
                  <a:noFill/>
                </a:ln>
                <a:solidFill>
                  <a:prstClr val="white"/>
                </a:solidFill>
                <a:effectLst/>
                <a:uLnTx/>
                <a:uFillTx/>
                <a:latin typeface="Montserrat" panose="00000500000000000000" pitchFamily="2" charset="0"/>
              </a:rPr>
              <a:t>Experiencia de cliente</a:t>
            </a:r>
          </a:p>
        </p:txBody>
      </p:sp>
      <p:sp>
        <p:nvSpPr>
          <p:cNvPr id="49" name="Rectángulo: esquinas redondeadas 48">
            <a:extLst>
              <a:ext uri="{FF2B5EF4-FFF2-40B4-BE49-F238E27FC236}">
                <a16:creationId xmlns:a16="http://schemas.microsoft.com/office/drawing/2014/main" id="{9FC81DF7-A16B-11A6-7FC3-661FBDAC9B47}"/>
              </a:ext>
            </a:extLst>
          </p:cNvPr>
          <p:cNvSpPr/>
          <p:nvPr/>
        </p:nvSpPr>
        <p:spPr>
          <a:xfrm rot="16200000">
            <a:off x="-511126" y="5610710"/>
            <a:ext cx="1611072" cy="362414"/>
          </a:xfrm>
          <a:prstGeom prst="roundRect">
            <a:avLst>
              <a:gd name="adj" fmla="val 15416"/>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1100" b="1" i="0" u="none" strike="noStrike" kern="1200" cap="none" spc="0" normalizeH="0" baseline="0" noProof="0">
                <a:ln>
                  <a:noFill/>
                </a:ln>
                <a:solidFill>
                  <a:prstClr val="white"/>
                </a:solidFill>
                <a:effectLst/>
                <a:uLnTx/>
                <a:uFillTx/>
                <a:latin typeface="Montserrat" panose="00000500000000000000" pitchFamily="2" charset="0"/>
              </a:rPr>
              <a:t>Renovación de activos</a:t>
            </a:r>
          </a:p>
        </p:txBody>
      </p:sp>
      <p:cxnSp>
        <p:nvCxnSpPr>
          <p:cNvPr id="50" name="Conector recto 49">
            <a:extLst>
              <a:ext uri="{FF2B5EF4-FFF2-40B4-BE49-F238E27FC236}">
                <a16:creationId xmlns:a16="http://schemas.microsoft.com/office/drawing/2014/main" id="{4E62C65F-572F-5765-E6E2-6E2EBB43F72A}"/>
              </a:ext>
            </a:extLst>
          </p:cNvPr>
          <p:cNvCxnSpPr>
            <a:cxnSpLocks/>
          </p:cNvCxnSpPr>
          <p:nvPr/>
        </p:nvCxnSpPr>
        <p:spPr>
          <a:xfrm>
            <a:off x="197417" y="1583968"/>
            <a:ext cx="11866470" cy="0"/>
          </a:xfrm>
          <a:prstGeom prst="line">
            <a:avLst/>
          </a:prstGeom>
          <a:ln w="28575">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59" name="Conector recto 58">
            <a:extLst>
              <a:ext uri="{FF2B5EF4-FFF2-40B4-BE49-F238E27FC236}">
                <a16:creationId xmlns:a16="http://schemas.microsoft.com/office/drawing/2014/main" id="{B3F2051F-5871-D3A8-94D2-01F89000EB3E}"/>
              </a:ext>
            </a:extLst>
          </p:cNvPr>
          <p:cNvCxnSpPr>
            <a:cxnSpLocks/>
          </p:cNvCxnSpPr>
          <p:nvPr/>
        </p:nvCxnSpPr>
        <p:spPr>
          <a:xfrm>
            <a:off x="145078" y="4743010"/>
            <a:ext cx="11866470" cy="0"/>
          </a:xfrm>
          <a:prstGeom prst="line">
            <a:avLst/>
          </a:prstGeom>
          <a:ln w="28575">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sp>
        <p:nvSpPr>
          <p:cNvPr id="64" name="Rectángulo 63">
            <a:extLst>
              <a:ext uri="{FF2B5EF4-FFF2-40B4-BE49-F238E27FC236}">
                <a16:creationId xmlns:a16="http://schemas.microsoft.com/office/drawing/2014/main" id="{2F391352-A638-C2F6-FF84-F4F330D59016}"/>
              </a:ext>
            </a:extLst>
          </p:cNvPr>
          <p:cNvSpPr/>
          <p:nvPr/>
        </p:nvSpPr>
        <p:spPr>
          <a:xfrm>
            <a:off x="10062623" y="829715"/>
            <a:ext cx="104107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13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locaciones</a:t>
            </a:r>
          </a:p>
        </p:txBody>
      </p:sp>
      <p:sp>
        <p:nvSpPr>
          <p:cNvPr id="65" name="Estrella: 5 puntas 64">
            <a:extLst>
              <a:ext uri="{FF2B5EF4-FFF2-40B4-BE49-F238E27FC236}">
                <a16:creationId xmlns:a16="http://schemas.microsoft.com/office/drawing/2014/main" id="{D29D627E-3D4A-1C6E-AB86-EBDFD4FF84B1}"/>
              </a:ext>
            </a:extLst>
          </p:cNvPr>
          <p:cNvSpPr/>
          <p:nvPr/>
        </p:nvSpPr>
        <p:spPr>
          <a:xfrm>
            <a:off x="9982555" y="916757"/>
            <a:ext cx="107441" cy="105825"/>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3" name="Flecha: a la derecha 2">
            <a:extLst>
              <a:ext uri="{FF2B5EF4-FFF2-40B4-BE49-F238E27FC236}">
                <a16:creationId xmlns:a16="http://schemas.microsoft.com/office/drawing/2014/main" id="{2B40E7C5-8E9A-C9B3-09FD-AF2BE35D715A}"/>
              </a:ext>
            </a:extLst>
          </p:cNvPr>
          <p:cNvSpPr/>
          <p:nvPr/>
        </p:nvSpPr>
        <p:spPr>
          <a:xfrm>
            <a:off x="3833374" y="5862815"/>
            <a:ext cx="4715733" cy="360000"/>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s-CL" sz="14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121" name="Rectángulo 120">
            <a:extLst>
              <a:ext uri="{FF2B5EF4-FFF2-40B4-BE49-F238E27FC236}">
                <a16:creationId xmlns:a16="http://schemas.microsoft.com/office/drawing/2014/main" id="{23031B24-BB40-9077-803B-2E9D793BFE27}"/>
              </a:ext>
            </a:extLst>
          </p:cNvPr>
          <p:cNvSpPr/>
          <p:nvPr/>
        </p:nvSpPr>
        <p:spPr>
          <a:xfrm>
            <a:off x="5891049" y="2281490"/>
            <a:ext cx="104107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700" b="1" dirty="0">
                <a:solidFill>
                  <a:prstClr val="black">
                    <a:lumMod val="65000"/>
                    <a:lumOff val="35000"/>
                  </a:prstClr>
                </a:solidFill>
                <a:latin typeface="Montserrat" panose="00000500000000000000" pitchFamily="2" charset="0"/>
              </a:rPr>
              <a:t>20</a:t>
            </a:r>
            <a:r>
              <a:rPr kumimoji="0" lang="es-CL" sz="7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 plataformas</a:t>
            </a:r>
          </a:p>
        </p:txBody>
      </p:sp>
      <p:sp>
        <p:nvSpPr>
          <p:cNvPr id="125" name="Rectángulo 124">
            <a:extLst>
              <a:ext uri="{FF2B5EF4-FFF2-40B4-BE49-F238E27FC236}">
                <a16:creationId xmlns:a16="http://schemas.microsoft.com/office/drawing/2014/main" id="{E5C0F428-821C-5F58-61B9-8FD19B910EC7}"/>
              </a:ext>
            </a:extLst>
          </p:cNvPr>
          <p:cNvSpPr/>
          <p:nvPr/>
        </p:nvSpPr>
        <p:spPr>
          <a:xfrm>
            <a:off x="7918713" y="2278666"/>
            <a:ext cx="104107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Total 32 ascensores </a:t>
            </a:r>
          </a:p>
        </p:txBody>
      </p:sp>
      <p:sp>
        <p:nvSpPr>
          <p:cNvPr id="126" name="Estrella: 5 puntas 125">
            <a:extLst>
              <a:ext uri="{FF2B5EF4-FFF2-40B4-BE49-F238E27FC236}">
                <a16:creationId xmlns:a16="http://schemas.microsoft.com/office/drawing/2014/main" id="{79F78127-D252-4B13-29E5-57A44A6493D0}"/>
              </a:ext>
            </a:extLst>
          </p:cNvPr>
          <p:cNvSpPr/>
          <p:nvPr/>
        </p:nvSpPr>
        <p:spPr>
          <a:xfrm>
            <a:off x="7840474" y="2403501"/>
            <a:ext cx="72000" cy="72000"/>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27" name="Rectángulo 126">
            <a:extLst>
              <a:ext uri="{FF2B5EF4-FFF2-40B4-BE49-F238E27FC236}">
                <a16:creationId xmlns:a16="http://schemas.microsoft.com/office/drawing/2014/main" id="{CABF04F2-3C9A-6845-E078-39A08439F805}"/>
              </a:ext>
            </a:extLst>
          </p:cNvPr>
          <p:cNvSpPr/>
          <p:nvPr/>
        </p:nvSpPr>
        <p:spPr>
          <a:xfrm>
            <a:off x="10317967" y="2286576"/>
            <a:ext cx="2023321"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Reposición total de ascensores  y escaleras por confiabilidad</a:t>
            </a:r>
          </a:p>
        </p:txBody>
      </p:sp>
      <p:sp>
        <p:nvSpPr>
          <p:cNvPr id="128" name="Estrella: 5 puntas 127">
            <a:extLst>
              <a:ext uri="{FF2B5EF4-FFF2-40B4-BE49-F238E27FC236}">
                <a16:creationId xmlns:a16="http://schemas.microsoft.com/office/drawing/2014/main" id="{F5A84636-C790-C4F4-133C-DC9720D72EC7}"/>
              </a:ext>
            </a:extLst>
          </p:cNvPr>
          <p:cNvSpPr/>
          <p:nvPr/>
        </p:nvSpPr>
        <p:spPr>
          <a:xfrm>
            <a:off x="11942371" y="2385428"/>
            <a:ext cx="119632" cy="131151"/>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33" name="Rectángulo 132">
            <a:extLst>
              <a:ext uri="{FF2B5EF4-FFF2-40B4-BE49-F238E27FC236}">
                <a16:creationId xmlns:a16="http://schemas.microsoft.com/office/drawing/2014/main" id="{0A17B0F7-A9EC-185B-9334-FDC1B8229900}"/>
              </a:ext>
            </a:extLst>
          </p:cNvPr>
          <p:cNvSpPr/>
          <p:nvPr/>
        </p:nvSpPr>
        <p:spPr>
          <a:xfrm>
            <a:off x="6040314" y="2556495"/>
            <a:ext cx="1538311"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Puesta en servicio nuevo ascensor estación Ecuador </a:t>
            </a:r>
          </a:p>
        </p:txBody>
      </p:sp>
      <p:sp>
        <p:nvSpPr>
          <p:cNvPr id="110" name="Estrella: 5 puntas 109">
            <a:extLst>
              <a:ext uri="{FF2B5EF4-FFF2-40B4-BE49-F238E27FC236}">
                <a16:creationId xmlns:a16="http://schemas.microsoft.com/office/drawing/2014/main" id="{C06F59B2-D0B1-C4EC-F8F8-23550D8B011A}"/>
              </a:ext>
            </a:extLst>
          </p:cNvPr>
          <p:cNvSpPr/>
          <p:nvPr/>
        </p:nvSpPr>
        <p:spPr>
          <a:xfrm>
            <a:off x="11566145" y="3542738"/>
            <a:ext cx="113942" cy="120392"/>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40" name="Rectángulo: esquinas redondeadas 139">
            <a:extLst>
              <a:ext uri="{FF2B5EF4-FFF2-40B4-BE49-F238E27FC236}">
                <a16:creationId xmlns:a16="http://schemas.microsoft.com/office/drawing/2014/main" id="{26B91283-F213-5E79-5D11-C55827C9C075}"/>
              </a:ext>
            </a:extLst>
          </p:cNvPr>
          <p:cNvSpPr/>
          <p:nvPr/>
        </p:nvSpPr>
        <p:spPr>
          <a:xfrm>
            <a:off x="512123" y="1190742"/>
            <a:ext cx="3001747" cy="252000"/>
          </a:xfrm>
          <a:prstGeom prst="roundRect">
            <a:avLst>
              <a:gd name="adj" fmla="val 28401"/>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MX"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Implementación A/C cabina trenes ​AS-02</a:t>
            </a:r>
            <a:endPar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141" name="Rectángulo: esquinas redondeadas 140">
            <a:extLst>
              <a:ext uri="{FF2B5EF4-FFF2-40B4-BE49-F238E27FC236}">
                <a16:creationId xmlns:a16="http://schemas.microsoft.com/office/drawing/2014/main" id="{83566449-7037-4EEC-58B9-317F8AB16880}"/>
              </a:ext>
            </a:extLst>
          </p:cNvPr>
          <p:cNvSpPr/>
          <p:nvPr/>
        </p:nvSpPr>
        <p:spPr>
          <a:xfrm rot="16200000">
            <a:off x="635" y="967314"/>
            <a:ext cx="588442" cy="362412"/>
          </a:xfrm>
          <a:prstGeom prst="roundRect">
            <a:avLst>
              <a:gd name="adj" fmla="val 33438"/>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1100" b="1" i="0" u="none" strike="noStrike" kern="1200" cap="none" spc="0" normalizeH="0" baseline="0" noProof="0" dirty="0">
                <a:ln>
                  <a:noFill/>
                </a:ln>
                <a:solidFill>
                  <a:prstClr val="white"/>
                </a:solidFill>
                <a:effectLst/>
                <a:uLnTx/>
                <a:uFillTx/>
                <a:latin typeface="Montserrat" panose="00000500000000000000" pitchFamily="2" charset="0"/>
              </a:rPr>
              <a:t>Trab.</a:t>
            </a:r>
          </a:p>
        </p:txBody>
      </p:sp>
      <p:sp>
        <p:nvSpPr>
          <p:cNvPr id="131" name="Estrella: 5 puntas 130">
            <a:extLst>
              <a:ext uri="{FF2B5EF4-FFF2-40B4-BE49-F238E27FC236}">
                <a16:creationId xmlns:a16="http://schemas.microsoft.com/office/drawing/2014/main" id="{D1D24A43-6286-A45A-0962-246B8CE618D1}"/>
              </a:ext>
            </a:extLst>
          </p:cNvPr>
          <p:cNvSpPr/>
          <p:nvPr/>
        </p:nvSpPr>
        <p:spPr>
          <a:xfrm>
            <a:off x="10097852" y="3270613"/>
            <a:ext cx="105730" cy="103082"/>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43" name="Flecha: a la derecha 142">
            <a:extLst>
              <a:ext uri="{FF2B5EF4-FFF2-40B4-BE49-F238E27FC236}">
                <a16:creationId xmlns:a16="http://schemas.microsoft.com/office/drawing/2014/main" id="{58BE130C-8649-12A3-FBD0-468E99521E17}"/>
              </a:ext>
            </a:extLst>
          </p:cNvPr>
          <p:cNvSpPr/>
          <p:nvPr/>
        </p:nvSpPr>
        <p:spPr>
          <a:xfrm>
            <a:off x="4214395" y="1182416"/>
            <a:ext cx="3831417" cy="252000"/>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44" name="Rectángulo 143">
            <a:extLst>
              <a:ext uri="{FF2B5EF4-FFF2-40B4-BE49-F238E27FC236}">
                <a16:creationId xmlns:a16="http://schemas.microsoft.com/office/drawing/2014/main" id="{A4FBCEA6-083D-785F-AF3D-3C7B6CCCA145}"/>
              </a:ext>
            </a:extLst>
          </p:cNvPr>
          <p:cNvSpPr/>
          <p:nvPr/>
        </p:nvSpPr>
        <p:spPr>
          <a:xfrm>
            <a:off x="8015865" y="1148189"/>
            <a:ext cx="91493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Total 20 cabinas</a:t>
            </a:r>
          </a:p>
        </p:txBody>
      </p:sp>
      <p:sp>
        <p:nvSpPr>
          <p:cNvPr id="145" name="Estrella: 5 puntas 144">
            <a:extLst>
              <a:ext uri="{FF2B5EF4-FFF2-40B4-BE49-F238E27FC236}">
                <a16:creationId xmlns:a16="http://schemas.microsoft.com/office/drawing/2014/main" id="{19A86F5A-F6F7-A63B-E502-5BF9177CC489}"/>
              </a:ext>
            </a:extLst>
          </p:cNvPr>
          <p:cNvSpPr/>
          <p:nvPr/>
        </p:nvSpPr>
        <p:spPr>
          <a:xfrm>
            <a:off x="7929758" y="1243258"/>
            <a:ext cx="127409" cy="116688"/>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58" name="Estrella: 5 puntas 157">
            <a:extLst>
              <a:ext uri="{FF2B5EF4-FFF2-40B4-BE49-F238E27FC236}">
                <a16:creationId xmlns:a16="http://schemas.microsoft.com/office/drawing/2014/main" id="{3765A79D-4ADD-53FC-DFB3-DD5C6C7CD37C}"/>
              </a:ext>
            </a:extLst>
          </p:cNvPr>
          <p:cNvSpPr/>
          <p:nvPr/>
        </p:nvSpPr>
        <p:spPr>
          <a:xfrm>
            <a:off x="9562249" y="3837669"/>
            <a:ext cx="141602" cy="134332"/>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66" name="Flecha: a la derecha 165">
            <a:extLst>
              <a:ext uri="{FF2B5EF4-FFF2-40B4-BE49-F238E27FC236}">
                <a16:creationId xmlns:a16="http://schemas.microsoft.com/office/drawing/2014/main" id="{EA39D5CF-539D-B2D5-57B2-C931537EA670}"/>
              </a:ext>
            </a:extLst>
          </p:cNvPr>
          <p:cNvSpPr/>
          <p:nvPr/>
        </p:nvSpPr>
        <p:spPr>
          <a:xfrm>
            <a:off x="3554178" y="4352475"/>
            <a:ext cx="3116065" cy="254915"/>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65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169" name="Rectángulo 168">
            <a:extLst>
              <a:ext uri="{FF2B5EF4-FFF2-40B4-BE49-F238E27FC236}">
                <a16:creationId xmlns:a16="http://schemas.microsoft.com/office/drawing/2014/main" id="{4715D26C-74EC-F070-B633-29E5D21FC6EE}"/>
              </a:ext>
            </a:extLst>
          </p:cNvPr>
          <p:cNvSpPr/>
          <p:nvPr/>
        </p:nvSpPr>
        <p:spPr>
          <a:xfrm>
            <a:off x="10651579" y="5397226"/>
            <a:ext cx="141748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Sistema de señalización y pilotaje Automático</a:t>
            </a:r>
            <a:endParaRPr kumimoji="0" lang="es-CL"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170" name="Estrella: 5 puntas 169">
            <a:extLst>
              <a:ext uri="{FF2B5EF4-FFF2-40B4-BE49-F238E27FC236}">
                <a16:creationId xmlns:a16="http://schemas.microsoft.com/office/drawing/2014/main" id="{444AD8CB-9978-5E60-AD6F-93D3FB95D85E}"/>
              </a:ext>
            </a:extLst>
          </p:cNvPr>
          <p:cNvSpPr/>
          <p:nvPr/>
        </p:nvSpPr>
        <p:spPr>
          <a:xfrm>
            <a:off x="11997850" y="5561653"/>
            <a:ext cx="72000" cy="72000"/>
          </a:xfrm>
          <a:prstGeom prst="star5">
            <a:avLst/>
          </a:prstGeom>
          <a:solidFill>
            <a:srgbClr val="9A3488"/>
          </a:solidFill>
          <a:ln>
            <a:solidFill>
              <a:srgbClr val="9A3488"/>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72" name="Rectángulo 171">
            <a:extLst>
              <a:ext uri="{FF2B5EF4-FFF2-40B4-BE49-F238E27FC236}">
                <a16:creationId xmlns:a16="http://schemas.microsoft.com/office/drawing/2014/main" id="{14C423AF-91E4-5B28-1A8F-DCF99976264E}"/>
              </a:ext>
            </a:extLst>
          </p:cNvPr>
          <p:cNvSpPr/>
          <p:nvPr/>
        </p:nvSpPr>
        <p:spPr>
          <a:xfrm>
            <a:off x="10651579" y="5557948"/>
            <a:ext cx="1274239"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 Instalación de ADV (8C+1D)</a:t>
            </a:r>
            <a:endParaRPr kumimoji="0" lang="es-CL"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185" name="Flecha: a la derecha 184">
            <a:extLst>
              <a:ext uri="{FF2B5EF4-FFF2-40B4-BE49-F238E27FC236}">
                <a16:creationId xmlns:a16="http://schemas.microsoft.com/office/drawing/2014/main" id="{73062126-2C90-A1AB-D9B3-B7DE866578B9}"/>
              </a:ext>
            </a:extLst>
          </p:cNvPr>
          <p:cNvSpPr/>
          <p:nvPr/>
        </p:nvSpPr>
        <p:spPr>
          <a:xfrm>
            <a:off x="4089533" y="6268597"/>
            <a:ext cx="7944293" cy="337203"/>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s-CL" sz="14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186" name="Estrella: 5 puntas 185">
            <a:extLst>
              <a:ext uri="{FF2B5EF4-FFF2-40B4-BE49-F238E27FC236}">
                <a16:creationId xmlns:a16="http://schemas.microsoft.com/office/drawing/2014/main" id="{2957700C-2FAB-1375-E078-07990D20985F}"/>
              </a:ext>
            </a:extLst>
          </p:cNvPr>
          <p:cNvSpPr/>
          <p:nvPr/>
        </p:nvSpPr>
        <p:spPr>
          <a:xfrm>
            <a:off x="9593836" y="6408787"/>
            <a:ext cx="72000" cy="72000"/>
          </a:xfrm>
          <a:prstGeom prst="star5">
            <a:avLst/>
          </a:prstGeom>
          <a:solidFill>
            <a:srgbClr val="9A3488"/>
          </a:solidFill>
          <a:ln>
            <a:solidFill>
              <a:srgbClr val="9A3488"/>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87" name="Rectángulo 186">
            <a:extLst>
              <a:ext uri="{FF2B5EF4-FFF2-40B4-BE49-F238E27FC236}">
                <a16:creationId xmlns:a16="http://schemas.microsoft.com/office/drawing/2014/main" id="{528DE03A-A835-D17B-B268-FD6357248A7A}"/>
              </a:ext>
            </a:extLst>
          </p:cNvPr>
          <p:cNvSpPr/>
          <p:nvPr/>
        </p:nvSpPr>
        <p:spPr>
          <a:xfrm>
            <a:off x="10222499" y="6268597"/>
            <a:ext cx="177309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 Sistema eléctrico estacion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Sistemas SCADA en líneas L1, L2, L4 y L4A</a:t>
            </a:r>
            <a:endParaRPr kumimoji="0" lang="es-CL"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188" name="Rectángulo 187">
            <a:extLst>
              <a:ext uri="{FF2B5EF4-FFF2-40B4-BE49-F238E27FC236}">
                <a16:creationId xmlns:a16="http://schemas.microsoft.com/office/drawing/2014/main" id="{D15D6CAE-FD74-5F20-457D-99C05DB90154}"/>
              </a:ext>
            </a:extLst>
          </p:cNvPr>
          <p:cNvSpPr/>
          <p:nvPr/>
        </p:nvSpPr>
        <p:spPr>
          <a:xfrm>
            <a:off x="7738365" y="6274370"/>
            <a:ext cx="1756778"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55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 Red de transporte de dato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55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Iluminación interestacion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55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Condiciones ambientales de salas técnicas</a:t>
            </a:r>
            <a:endParaRPr kumimoji="0" lang="es-CL" sz="55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endParaRPr>
          </a:p>
        </p:txBody>
      </p:sp>
      <p:sp>
        <p:nvSpPr>
          <p:cNvPr id="189" name="Estrella: 5 puntas 188">
            <a:extLst>
              <a:ext uri="{FF2B5EF4-FFF2-40B4-BE49-F238E27FC236}">
                <a16:creationId xmlns:a16="http://schemas.microsoft.com/office/drawing/2014/main" id="{E3F6CA0E-B5C3-7E1B-2196-A81DE42EB383}"/>
              </a:ext>
            </a:extLst>
          </p:cNvPr>
          <p:cNvSpPr/>
          <p:nvPr/>
        </p:nvSpPr>
        <p:spPr>
          <a:xfrm>
            <a:off x="11989468" y="6408787"/>
            <a:ext cx="72000" cy="72000"/>
          </a:xfrm>
          <a:prstGeom prst="star5">
            <a:avLst/>
          </a:prstGeom>
          <a:solidFill>
            <a:srgbClr val="9A3488"/>
          </a:solidFill>
          <a:ln>
            <a:solidFill>
              <a:srgbClr val="9A3488"/>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90" name="Estrella: 5 puntas 189">
            <a:extLst>
              <a:ext uri="{FF2B5EF4-FFF2-40B4-BE49-F238E27FC236}">
                <a16:creationId xmlns:a16="http://schemas.microsoft.com/office/drawing/2014/main" id="{6F62A3E7-0086-27DD-94CB-9996D2BCE19D}"/>
              </a:ext>
            </a:extLst>
          </p:cNvPr>
          <p:cNvSpPr/>
          <p:nvPr/>
        </p:nvSpPr>
        <p:spPr>
          <a:xfrm>
            <a:off x="7343357" y="6408787"/>
            <a:ext cx="72000" cy="72000"/>
          </a:xfrm>
          <a:prstGeom prst="star5">
            <a:avLst/>
          </a:prstGeom>
          <a:solidFill>
            <a:srgbClr val="9A3488"/>
          </a:solidFill>
          <a:ln>
            <a:solidFill>
              <a:srgbClr val="9A3488"/>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91" name="Rectángulo 190">
            <a:extLst>
              <a:ext uri="{FF2B5EF4-FFF2-40B4-BE49-F238E27FC236}">
                <a16:creationId xmlns:a16="http://schemas.microsoft.com/office/drawing/2014/main" id="{8EB11D5F-3984-6B95-01EC-267985429B89}"/>
              </a:ext>
            </a:extLst>
          </p:cNvPr>
          <p:cNvSpPr/>
          <p:nvPr/>
        </p:nvSpPr>
        <p:spPr>
          <a:xfrm>
            <a:off x="6259104" y="6274076"/>
            <a:ext cx="103962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Sistema Eléctrico de MT y AT del SEAT</a:t>
            </a:r>
            <a:endParaRPr kumimoji="0" lang="es-CL"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192" name="Estrella: 5 puntas 191">
            <a:extLst>
              <a:ext uri="{FF2B5EF4-FFF2-40B4-BE49-F238E27FC236}">
                <a16:creationId xmlns:a16="http://schemas.microsoft.com/office/drawing/2014/main" id="{46A0F158-5278-0A4A-9B17-9379FD9FE579}"/>
              </a:ext>
            </a:extLst>
          </p:cNvPr>
          <p:cNvSpPr/>
          <p:nvPr/>
        </p:nvSpPr>
        <p:spPr>
          <a:xfrm>
            <a:off x="6231518" y="6408787"/>
            <a:ext cx="72000" cy="72000"/>
          </a:xfrm>
          <a:prstGeom prst="star5">
            <a:avLst/>
          </a:prstGeom>
          <a:solidFill>
            <a:srgbClr val="9A3488"/>
          </a:solidFill>
          <a:ln>
            <a:solidFill>
              <a:srgbClr val="9A3488"/>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93" name="Rectángulo 192">
            <a:extLst>
              <a:ext uri="{FF2B5EF4-FFF2-40B4-BE49-F238E27FC236}">
                <a16:creationId xmlns:a16="http://schemas.microsoft.com/office/drawing/2014/main" id="{5B9E2100-0A32-19F3-6875-9F564A83B5A4}"/>
              </a:ext>
            </a:extLst>
          </p:cNvPr>
          <p:cNvSpPr/>
          <p:nvPr/>
        </p:nvSpPr>
        <p:spPr>
          <a:xfrm>
            <a:off x="4109943" y="6265577"/>
            <a:ext cx="2154450" cy="360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Migración de data center a la nube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Renovación de UTR seriales de Línea 5  </a:t>
            </a:r>
            <a:endParaRPr kumimoji="0" lang="es-CL"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194" name="Estrella: 5 puntas 193">
            <a:extLst>
              <a:ext uri="{FF2B5EF4-FFF2-40B4-BE49-F238E27FC236}">
                <a16:creationId xmlns:a16="http://schemas.microsoft.com/office/drawing/2014/main" id="{6456EFC5-8ABE-F342-126F-2B14DF2DC50F}"/>
              </a:ext>
            </a:extLst>
          </p:cNvPr>
          <p:cNvSpPr/>
          <p:nvPr/>
        </p:nvSpPr>
        <p:spPr>
          <a:xfrm>
            <a:off x="5443826" y="5998521"/>
            <a:ext cx="72000" cy="72000"/>
          </a:xfrm>
          <a:prstGeom prst="star5">
            <a:avLst/>
          </a:prstGeom>
          <a:solidFill>
            <a:srgbClr val="9A3488"/>
          </a:solidFill>
          <a:ln>
            <a:solidFill>
              <a:srgbClr val="9A3488"/>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95" name="Rectángulo 194">
            <a:extLst>
              <a:ext uri="{FF2B5EF4-FFF2-40B4-BE49-F238E27FC236}">
                <a16:creationId xmlns:a16="http://schemas.microsoft.com/office/drawing/2014/main" id="{8E922AD6-E93C-FE95-EF91-FA4FFE6355D9}"/>
              </a:ext>
            </a:extLst>
          </p:cNvPr>
          <p:cNvSpPr/>
          <p:nvPr/>
        </p:nvSpPr>
        <p:spPr>
          <a:xfrm>
            <a:off x="6632004" y="5879176"/>
            <a:ext cx="914385"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Pilar viaducto L4 y techumbre TPA </a:t>
            </a:r>
            <a:endParaRPr kumimoji="0" lang="es-CL" sz="6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198" name="Rectángulo 197">
            <a:extLst>
              <a:ext uri="{FF2B5EF4-FFF2-40B4-BE49-F238E27FC236}">
                <a16:creationId xmlns:a16="http://schemas.microsoft.com/office/drawing/2014/main" id="{DBBCE150-CD30-3E89-00FD-F0C814730D3E}"/>
              </a:ext>
            </a:extLst>
          </p:cNvPr>
          <p:cNvSpPr/>
          <p:nvPr/>
        </p:nvSpPr>
        <p:spPr>
          <a:xfrm>
            <a:off x="7644105" y="5877867"/>
            <a:ext cx="795144"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Mejoras en layout en el CCO</a:t>
            </a:r>
            <a:endParaRPr kumimoji="0" lang="es-CL" sz="6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endParaRPr>
          </a:p>
        </p:txBody>
      </p:sp>
      <p:sp>
        <p:nvSpPr>
          <p:cNvPr id="199" name="Estrella: 5 puntas 198">
            <a:extLst>
              <a:ext uri="{FF2B5EF4-FFF2-40B4-BE49-F238E27FC236}">
                <a16:creationId xmlns:a16="http://schemas.microsoft.com/office/drawing/2014/main" id="{EEBFC6BF-4D82-44A5-F01C-0101A59ECB1B}"/>
              </a:ext>
            </a:extLst>
          </p:cNvPr>
          <p:cNvSpPr/>
          <p:nvPr/>
        </p:nvSpPr>
        <p:spPr>
          <a:xfrm>
            <a:off x="8356987" y="5995013"/>
            <a:ext cx="72000" cy="72000"/>
          </a:xfrm>
          <a:prstGeom prst="star5">
            <a:avLst/>
          </a:prstGeom>
          <a:solidFill>
            <a:srgbClr val="9A3488"/>
          </a:solidFill>
          <a:ln>
            <a:solidFill>
              <a:srgbClr val="9A3488"/>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202" name="Rectángulo 201">
            <a:extLst>
              <a:ext uri="{FF2B5EF4-FFF2-40B4-BE49-F238E27FC236}">
                <a16:creationId xmlns:a16="http://schemas.microsoft.com/office/drawing/2014/main" id="{0F17607A-11A0-8E30-84AA-AADD623F0592}"/>
              </a:ext>
            </a:extLst>
          </p:cNvPr>
          <p:cNvSpPr/>
          <p:nvPr/>
        </p:nvSpPr>
        <p:spPr>
          <a:xfrm>
            <a:off x="4720807" y="5893511"/>
            <a:ext cx="832829"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55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Comunicación entre CCO y el tren LLCC</a:t>
            </a:r>
            <a:endParaRPr kumimoji="0" lang="es-CL" sz="55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203" name="Estrella: 5 puntas 202">
            <a:extLst>
              <a:ext uri="{FF2B5EF4-FFF2-40B4-BE49-F238E27FC236}">
                <a16:creationId xmlns:a16="http://schemas.microsoft.com/office/drawing/2014/main" id="{CDA374B9-50D5-C048-62F0-280752070CAE}"/>
              </a:ext>
            </a:extLst>
          </p:cNvPr>
          <p:cNvSpPr/>
          <p:nvPr/>
        </p:nvSpPr>
        <p:spPr>
          <a:xfrm>
            <a:off x="6567979" y="5995013"/>
            <a:ext cx="72000" cy="72000"/>
          </a:xfrm>
          <a:prstGeom prst="star5">
            <a:avLst/>
          </a:prstGeom>
          <a:solidFill>
            <a:srgbClr val="9A3488"/>
          </a:solidFill>
          <a:ln>
            <a:solidFill>
              <a:srgbClr val="9A3488"/>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78" name="Rectángulo 177">
            <a:extLst>
              <a:ext uri="{FF2B5EF4-FFF2-40B4-BE49-F238E27FC236}">
                <a16:creationId xmlns:a16="http://schemas.microsoft.com/office/drawing/2014/main" id="{C1BF11D5-B541-0867-5848-4D8FA23BF06D}"/>
              </a:ext>
            </a:extLst>
          </p:cNvPr>
          <p:cNvSpPr/>
          <p:nvPr/>
        </p:nvSpPr>
        <p:spPr>
          <a:xfrm>
            <a:off x="6645141" y="4302111"/>
            <a:ext cx="104107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Actualización APP Metro</a:t>
            </a:r>
          </a:p>
        </p:txBody>
      </p:sp>
      <p:sp>
        <p:nvSpPr>
          <p:cNvPr id="180" name="Flecha: a la derecha 179">
            <a:extLst>
              <a:ext uri="{FF2B5EF4-FFF2-40B4-BE49-F238E27FC236}">
                <a16:creationId xmlns:a16="http://schemas.microsoft.com/office/drawing/2014/main" id="{852510AF-8ACE-B2E0-ACDD-C63274C66210}"/>
              </a:ext>
            </a:extLst>
          </p:cNvPr>
          <p:cNvSpPr/>
          <p:nvPr/>
        </p:nvSpPr>
        <p:spPr>
          <a:xfrm>
            <a:off x="3539808" y="5447086"/>
            <a:ext cx="851488" cy="360000"/>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600" b="1" i="0" u="none" strike="noStrike" kern="1200" cap="none" spc="0" normalizeH="0" baseline="0" noProof="0" dirty="0">
                <a:ln>
                  <a:noFill/>
                </a:ln>
                <a:solidFill>
                  <a:schemeClr val="tx1">
                    <a:lumMod val="75000"/>
                    <a:lumOff val="25000"/>
                  </a:schemeClr>
                </a:solidFill>
                <a:effectLst/>
                <a:uLnTx/>
                <a:uFillTx/>
                <a:latin typeface="Montserrat" panose="00000500000000000000" pitchFamily="2" charset="0"/>
              </a:rPr>
              <a:t>Estudios ferroviarios</a:t>
            </a:r>
          </a:p>
        </p:txBody>
      </p:sp>
      <p:sp>
        <p:nvSpPr>
          <p:cNvPr id="17" name="Estrella: 5 puntas 16">
            <a:extLst>
              <a:ext uri="{FF2B5EF4-FFF2-40B4-BE49-F238E27FC236}">
                <a16:creationId xmlns:a16="http://schemas.microsoft.com/office/drawing/2014/main" id="{E9E62D2C-6F4A-97BE-4B0E-4A61CEA7282A}"/>
              </a:ext>
            </a:extLst>
          </p:cNvPr>
          <p:cNvSpPr/>
          <p:nvPr/>
        </p:nvSpPr>
        <p:spPr>
          <a:xfrm>
            <a:off x="6201717" y="2131009"/>
            <a:ext cx="102169" cy="85291"/>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51" name="Rectángulo 50">
            <a:extLst>
              <a:ext uri="{FF2B5EF4-FFF2-40B4-BE49-F238E27FC236}">
                <a16:creationId xmlns:a16="http://schemas.microsoft.com/office/drawing/2014/main" id="{2BC3DCCF-8DA4-39D4-2CE3-EAC2FAF30085}"/>
              </a:ext>
            </a:extLst>
          </p:cNvPr>
          <p:cNvSpPr/>
          <p:nvPr/>
        </p:nvSpPr>
        <p:spPr>
          <a:xfrm>
            <a:off x="6301101" y="2020023"/>
            <a:ext cx="1534693"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Todo el parque de ascensores</a:t>
            </a:r>
          </a:p>
        </p:txBody>
      </p:sp>
      <p:sp>
        <p:nvSpPr>
          <p:cNvPr id="73" name="Estrella: 5 puntas 72">
            <a:extLst>
              <a:ext uri="{FF2B5EF4-FFF2-40B4-BE49-F238E27FC236}">
                <a16:creationId xmlns:a16="http://schemas.microsoft.com/office/drawing/2014/main" id="{1E72EB33-2AFA-44DD-FEAE-21CF0EE6C166}"/>
              </a:ext>
            </a:extLst>
          </p:cNvPr>
          <p:cNvSpPr/>
          <p:nvPr/>
        </p:nvSpPr>
        <p:spPr>
          <a:xfrm>
            <a:off x="5827039" y="2408360"/>
            <a:ext cx="72000" cy="72000"/>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24" name="Estrella: 5 puntas 123">
            <a:extLst>
              <a:ext uri="{FF2B5EF4-FFF2-40B4-BE49-F238E27FC236}">
                <a16:creationId xmlns:a16="http://schemas.microsoft.com/office/drawing/2014/main" id="{7CA2BE96-DC5E-F843-8452-1F84C943AF3E}"/>
              </a:ext>
            </a:extLst>
          </p:cNvPr>
          <p:cNvSpPr/>
          <p:nvPr/>
        </p:nvSpPr>
        <p:spPr>
          <a:xfrm>
            <a:off x="5980680" y="2689821"/>
            <a:ext cx="72000" cy="72000"/>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39" name="Estrella: 5 puntas 138">
            <a:extLst>
              <a:ext uri="{FF2B5EF4-FFF2-40B4-BE49-F238E27FC236}">
                <a16:creationId xmlns:a16="http://schemas.microsoft.com/office/drawing/2014/main" id="{BA5C5D13-D74A-0F80-600A-D79BD8402008}"/>
              </a:ext>
            </a:extLst>
          </p:cNvPr>
          <p:cNvSpPr/>
          <p:nvPr/>
        </p:nvSpPr>
        <p:spPr>
          <a:xfrm>
            <a:off x="6623390" y="2919532"/>
            <a:ext cx="137370" cy="117787"/>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62" name="Rectángulo 161">
            <a:extLst>
              <a:ext uri="{FF2B5EF4-FFF2-40B4-BE49-F238E27FC236}">
                <a16:creationId xmlns:a16="http://schemas.microsoft.com/office/drawing/2014/main" id="{D279348F-8C25-EEC2-CA49-E5C8601E1B19}"/>
              </a:ext>
            </a:extLst>
          </p:cNvPr>
          <p:cNvSpPr/>
          <p:nvPr/>
        </p:nvSpPr>
        <p:spPr>
          <a:xfrm>
            <a:off x="6759060" y="2816746"/>
            <a:ext cx="2023319"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s-CL" sz="700" b="1">
                <a:solidFill>
                  <a:prstClr val="black">
                    <a:lumMod val="65000"/>
                    <a:lumOff val="35000"/>
                  </a:prstClr>
                </a:solidFill>
                <a:latin typeface="Montserrat" panose="00000500000000000000" pitchFamily="2" charset="0"/>
              </a:rPr>
              <a:t>Total estaciones con nuevo estándar de señalización y accesibilidad</a:t>
            </a:r>
            <a:endPar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165" name="Flecha: a la derecha 164">
            <a:extLst>
              <a:ext uri="{FF2B5EF4-FFF2-40B4-BE49-F238E27FC236}">
                <a16:creationId xmlns:a16="http://schemas.microsoft.com/office/drawing/2014/main" id="{84B6163F-FDA2-CDB2-D693-CF03A91A579B}"/>
              </a:ext>
            </a:extLst>
          </p:cNvPr>
          <p:cNvSpPr/>
          <p:nvPr/>
        </p:nvSpPr>
        <p:spPr>
          <a:xfrm>
            <a:off x="4265122" y="4079761"/>
            <a:ext cx="1092569" cy="231192"/>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600" b="1" i="0" u="none" strike="noStrike" kern="1200" cap="none" spc="0" normalizeH="0" baseline="0" noProof="0" dirty="0">
                <a:ln>
                  <a:noFill/>
                </a:ln>
                <a:solidFill>
                  <a:schemeClr val="tx1">
                    <a:lumMod val="75000"/>
                    <a:lumOff val="25000"/>
                  </a:schemeClr>
                </a:solidFill>
                <a:effectLst/>
                <a:uLnTx/>
                <a:uFillTx/>
                <a:latin typeface="Montserrat" panose="00000500000000000000" pitchFamily="2" charset="0"/>
              </a:rPr>
              <a:t>Estudio modernización </a:t>
            </a:r>
            <a:r>
              <a:rPr kumimoji="0" lang="es-CL" sz="650" b="1" i="0" u="none" strike="noStrike" kern="1200" cap="none" spc="0" normalizeH="0" baseline="0" noProof="0" dirty="0">
                <a:ln>
                  <a:noFill/>
                </a:ln>
                <a:solidFill>
                  <a:schemeClr val="tx1">
                    <a:lumMod val="75000"/>
                    <a:lumOff val="25000"/>
                  </a:schemeClr>
                </a:solidFill>
                <a:effectLst/>
                <a:uLnTx/>
                <a:uFillTx/>
                <a:latin typeface="Montserrat" panose="00000500000000000000" pitchFamily="2" charset="0"/>
              </a:rPr>
              <a:t>CCTV</a:t>
            </a:r>
          </a:p>
        </p:txBody>
      </p:sp>
      <p:sp>
        <p:nvSpPr>
          <p:cNvPr id="173" name="Rectángulo 172">
            <a:extLst>
              <a:ext uri="{FF2B5EF4-FFF2-40B4-BE49-F238E27FC236}">
                <a16:creationId xmlns:a16="http://schemas.microsoft.com/office/drawing/2014/main" id="{08878ED3-8EBA-6B38-9E19-2BF773E7EE66}"/>
              </a:ext>
            </a:extLst>
          </p:cNvPr>
          <p:cNvSpPr/>
          <p:nvPr/>
        </p:nvSpPr>
        <p:spPr>
          <a:xfrm>
            <a:off x="8849113" y="4006360"/>
            <a:ext cx="1041072"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endParaRPr>
          </a:p>
        </p:txBody>
      </p:sp>
      <p:sp>
        <p:nvSpPr>
          <p:cNvPr id="181" name="Estrella: 5 puntas 180">
            <a:extLst>
              <a:ext uri="{FF2B5EF4-FFF2-40B4-BE49-F238E27FC236}">
                <a16:creationId xmlns:a16="http://schemas.microsoft.com/office/drawing/2014/main" id="{9F6F2F69-6076-D777-B35E-12C71AFCFABD}"/>
              </a:ext>
            </a:extLst>
          </p:cNvPr>
          <p:cNvSpPr/>
          <p:nvPr/>
        </p:nvSpPr>
        <p:spPr>
          <a:xfrm>
            <a:off x="6482386" y="4407416"/>
            <a:ext cx="141602" cy="134332"/>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82" name="Rectángulo: esquinas redondeadas 181">
            <a:extLst>
              <a:ext uri="{FF2B5EF4-FFF2-40B4-BE49-F238E27FC236}">
                <a16:creationId xmlns:a16="http://schemas.microsoft.com/office/drawing/2014/main" id="{FACAAF1C-ED71-2A7F-9D09-65A807061E3F}"/>
              </a:ext>
            </a:extLst>
          </p:cNvPr>
          <p:cNvSpPr/>
          <p:nvPr/>
        </p:nvSpPr>
        <p:spPr>
          <a:xfrm>
            <a:off x="518530" y="4986381"/>
            <a:ext cx="2959102" cy="366412"/>
          </a:xfrm>
          <a:prstGeom prst="roundRect">
            <a:avLst>
              <a:gd name="adj" fmla="val 27434"/>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rPr>
              <a:t>Equipamiento Talleres</a:t>
            </a:r>
          </a:p>
        </p:txBody>
      </p:sp>
      <p:sp>
        <p:nvSpPr>
          <p:cNvPr id="183" name="Flecha: a la derecha 182">
            <a:extLst>
              <a:ext uri="{FF2B5EF4-FFF2-40B4-BE49-F238E27FC236}">
                <a16:creationId xmlns:a16="http://schemas.microsoft.com/office/drawing/2014/main" id="{53EE363A-1227-7686-726C-67006510EBD8}"/>
              </a:ext>
            </a:extLst>
          </p:cNvPr>
          <p:cNvSpPr/>
          <p:nvPr/>
        </p:nvSpPr>
        <p:spPr>
          <a:xfrm>
            <a:off x="3569721" y="4975547"/>
            <a:ext cx="3149161" cy="360000"/>
          </a:xfrm>
          <a:prstGeom prst="rightArrow">
            <a:avLst/>
          </a:prstGeom>
          <a:solidFill>
            <a:schemeClr val="tx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s-CL" sz="1400" b="1" i="0" u="none" strike="noStrike" kern="1200" cap="none" spc="0" normalizeH="0" baseline="0" noProof="0">
              <a:ln>
                <a:noFill/>
              </a:ln>
              <a:solidFill>
                <a:prstClr val="black">
                  <a:lumMod val="75000"/>
                  <a:lumOff val="25000"/>
                </a:prstClr>
              </a:solidFill>
              <a:effectLst/>
              <a:uLnTx/>
              <a:uFillTx/>
              <a:latin typeface="Montserrat" panose="00000500000000000000" pitchFamily="2" charset="0"/>
            </a:endParaRPr>
          </a:p>
        </p:txBody>
      </p:sp>
      <p:sp>
        <p:nvSpPr>
          <p:cNvPr id="184" name="Estrella: 5 puntas 183">
            <a:extLst>
              <a:ext uri="{FF2B5EF4-FFF2-40B4-BE49-F238E27FC236}">
                <a16:creationId xmlns:a16="http://schemas.microsoft.com/office/drawing/2014/main" id="{C9017D14-8FFD-D841-F47C-2D50A3842E86}"/>
              </a:ext>
            </a:extLst>
          </p:cNvPr>
          <p:cNvSpPr/>
          <p:nvPr/>
        </p:nvSpPr>
        <p:spPr>
          <a:xfrm>
            <a:off x="5057354" y="5095300"/>
            <a:ext cx="141602" cy="134332"/>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204" name="Rectángulo 203">
            <a:extLst>
              <a:ext uri="{FF2B5EF4-FFF2-40B4-BE49-F238E27FC236}">
                <a16:creationId xmlns:a16="http://schemas.microsoft.com/office/drawing/2014/main" id="{CB524661-3537-276D-EFA1-97869EEE06E1}"/>
              </a:ext>
            </a:extLst>
          </p:cNvPr>
          <p:cNvSpPr/>
          <p:nvPr/>
        </p:nvSpPr>
        <p:spPr>
          <a:xfrm>
            <a:off x="4299420" y="5013460"/>
            <a:ext cx="811166"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Nueva GR TNP NS-04 y NS-16</a:t>
            </a:r>
          </a:p>
        </p:txBody>
      </p:sp>
      <p:sp>
        <p:nvSpPr>
          <p:cNvPr id="210" name="Estrella: 5 puntas 209">
            <a:extLst>
              <a:ext uri="{FF2B5EF4-FFF2-40B4-BE49-F238E27FC236}">
                <a16:creationId xmlns:a16="http://schemas.microsoft.com/office/drawing/2014/main" id="{E6E6C5D9-9F1F-BFC5-5854-1B8F6F11BA9A}"/>
              </a:ext>
            </a:extLst>
          </p:cNvPr>
          <p:cNvSpPr/>
          <p:nvPr/>
        </p:nvSpPr>
        <p:spPr>
          <a:xfrm>
            <a:off x="6557529" y="5083313"/>
            <a:ext cx="141602" cy="134332"/>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211" name="Rectángulo 210">
            <a:extLst>
              <a:ext uri="{FF2B5EF4-FFF2-40B4-BE49-F238E27FC236}">
                <a16:creationId xmlns:a16="http://schemas.microsoft.com/office/drawing/2014/main" id="{8F8DE8A3-523A-39A4-986D-3692F5D35FAE}"/>
              </a:ext>
            </a:extLst>
          </p:cNvPr>
          <p:cNvSpPr/>
          <p:nvPr/>
        </p:nvSpPr>
        <p:spPr>
          <a:xfrm>
            <a:off x="5492861" y="5014698"/>
            <a:ext cx="1177379" cy="32885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Nuevo equipamiento para tareas de </a:t>
            </a:r>
            <a:r>
              <a:rPr kumimoji="0" lang="es-CL" sz="700" b="1" i="0" u="none" strike="noStrike" kern="1200" cap="none" spc="0" normalizeH="0" baseline="0" noProof="0" err="1">
                <a:ln>
                  <a:noFill/>
                </a:ln>
                <a:solidFill>
                  <a:prstClr val="black">
                    <a:lumMod val="65000"/>
                    <a:lumOff val="35000"/>
                  </a:prstClr>
                </a:solidFill>
                <a:effectLst/>
                <a:uLnTx/>
                <a:uFillTx/>
                <a:latin typeface="Montserrat" panose="00000500000000000000" pitchFamily="2" charset="0"/>
              </a:rPr>
              <a:t>mtto</a:t>
            </a:r>
            <a:r>
              <a:rPr kumimoji="0" lang="es-CL" sz="700" b="1" i="0" u="none" strike="noStrike" kern="1200" cap="none" spc="0" normalizeH="0" baseline="0" noProof="0">
                <a:ln>
                  <a:noFill/>
                </a:ln>
                <a:solidFill>
                  <a:prstClr val="black">
                    <a:lumMod val="65000"/>
                    <a:lumOff val="35000"/>
                  </a:prstClr>
                </a:solidFill>
                <a:effectLst/>
                <a:uLnTx/>
                <a:uFillTx/>
                <a:latin typeface="Montserrat" panose="00000500000000000000" pitchFamily="2" charset="0"/>
              </a:rPr>
              <a:t>.</a:t>
            </a:r>
          </a:p>
        </p:txBody>
      </p:sp>
      <p:sp>
        <p:nvSpPr>
          <p:cNvPr id="4" name="Título 3">
            <a:extLst>
              <a:ext uri="{FF2B5EF4-FFF2-40B4-BE49-F238E27FC236}">
                <a16:creationId xmlns:a16="http://schemas.microsoft.com/office/drawing/2014/main" id="{8B315A3B-8FED-86F9-EC9B-1D25C620AC99}"/>
              </a:ext>
            </a:extLst>
          </p:cNvPr>
          <p:cNvSpPr>
            <a:spLocks noGrp="1"/>
          </p:cNvSpPr>
          <p:nvPr>
            <p:ph type="title"/>
          </p:nvPr>
        </p:nvSpPr>
        <p:spPr/>
        <p:txBody>
          <a:bodyPr vert="horz"/>
          <a:lstStyle/>
          <a:p>
            <a:r>
              <a:rPr lang="es-CL" dirty="0">
                <a:latin typeface="Montserrat" panose="00000500000000000000" pitchFamily="2" charset="0"/>
              </a:rPr>
              <a:t>Cronograma</a:t>
            </a:r>
          </a:p>
        </p:txBody>
      </p:sp>
      <p:sp>
        <p:nvSpPr>
          <p:cNvPr id="10" name="Estrella: 5 puntas 9">
            <a:extLst>
              <a:ext uri="{FF2B5EF4-FFF2-40B4-BE49-F238E27FC236}">
                <a16:creationId xmlns:a16="http://schemas.microsoft.com/office/drawing/2014/main" id="{29877C9B-8593-284E-EAAC-A7D5F7315B77}"/>
              </a:ext>
            </a:extLst>
          </p:cNvPr>
          <p:cNvSpPr/>
          <p:nvPr/>
        </p:nvSpPr>
        <p:spPr>
          <a:xfrm>
            <a:off x="5281282" y="4110630"/>
            <a:ext cx="141602" cy="134332"/>
          </a:xfrm>
          <a:prstGeom prst="star5">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Tree>
    <p:extLst>
      <p:ext uri="{BB962C8B-B14F-4D97-AF65-F5344CB8AC3E}">
        <p14:creationId xmlns:p14="http://schemas.microsoft.com/office/powerpoint/2010/main" val="60143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52959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B764C80-F2E2-BE05-B4CA-07BBD8C4F72E}"/>
              </a:ext>
            </a:extLst>
          </p:cNvPr>
          <p:cNvGraphicFramePr>
            <a:graphicFrameLocks noChangeAspect="1"/>
          </p:cNvGraphicFramePr>
          <p:nvPr>
            <p:custDataLst>
              <p:tags r:id="rId2"/>
            </p:custDataLst>
            <p:extLst>
              <p:ext uri="{D42A27DB-BD31-4B8C-83A1-F6EECF244321}">
                <p14:modId xmlns:p14="http://schemas.microsoft.com/office/powerpoint/2010/main" val="336440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Diapositiva de think-cell" r:id="rId4" imgW="404" imgH="405" progId="TCLayout.ActiveDocument.1">
                  <p:embed/>
                </p:oleObj>
              </mc:Choice>
              <mc:Fallback>
                <p:oleObj name="Diapositiva de think-cell" r:id="rId4" imgW="404" imgH="405" progId="TCLayout.ActiveDocument.1">
                  <p:embed/>
                  <p:pic>
                    <p:nvPicPr>
                      <p:cNvPr id="4" name="think-cell data - do not delete" hidden="1">
                        <a:extLst>
                          <a:ext uri="{FF2B5EF4-FFF2-40B4-BE49-F238E27FC236}">
                            <a16:creationId xmlns:a16="http://schemas.microsoft.com/office/drawing/2014/main" id="{FB764C80-F2E2-BE05-B4CA-07BBD8C4F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uadroTexto 5">
            <a:extLst>
              <a:ext uri="{FF2B5EF4-FFF2-40B4-BE49-F238E27FC236}">
                <a16:creationId xmlns:a16="http://schemas.microsoft.com/office/drawing/2014/main" id="{5DA4E936-99E1-70A5-9A1C-8954A5D652D2}"/>
              </a:ext>
            </a:extLst>
          </p:cNvPr>
          <p:cNvSpPr txBox="1"/>
          <p:nvPr/>
        </p:nvSpPr>
        <p:spPr>
          <a:xfrm>
            <a:off x="147801" y="64845"/>
            <a:ext cx="11930230" cy="6924973"/>
          </a:xfrm>
          <a:prstGeom prst="rect">
            <a:avLst/>
          </a:prstGeom>
          <a:noFill/>
        </p:spPr>
        <p:txBody>
          <a:bodyPr wrap="square">
            <a:spAutoFit/>
          </a:bodyPr>
          <a:lstStyle/>
          <a:p>
            <a:pPr marL="171450" marR="0" lvl="0" indent="-171450"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Mejoramiento en dependencias de trabajadores:</a:t>
            </a:r>
            <a:endParaRPr lang="es-CL" sz="1200" b="1" dirty="0">
              <a:solidFill>
                <a:prstClr val="black">
                  <a:lumMod val="75000"/>
                  <a:lumOff val="25000"/>
                </a:prstClr>
              </a:solidFill>
              <a:latin typeface="Century Gothic" panose="020B0502020202020204" pitchFamily="34" charset="0"/>
            </a:endParaRPr>
          </a:p>
          <a:p>
            <a:pPr lvl="1" fontAlgn="b">
              <a:defRPr/>
            </a:pPr>
            <a:r>
              <a:rPr lang="es-CL" sz="1200" dirty="0">
                <a:solidFill>
                  <a:prstClr val="black">
                    <a:lumMod val="75000"/>
                    <a:lumOff val="25000"/>
                  </a:prstClr>
                </a:solidFill>
                <a:latin typeface="Century Gothic" panose="020B0502020202020204" pitchFamily="34" charset="0"/>
              </a:rPr>
              <a:t>Proyecto busca regularizar y dar cumplimiento a la normativa vigente relacionada con espacios y recintos de trabajadores, la cual incluye: baños, vestidores, comedores, salas de basura, ventilación entre otros. El proyecto se aborda en etapas de acuerdo con las intervenciones necesarias: ampliaciones, remodelaciones y nuevo estándar. Fecha termino estimada: a partir de finales del 2025 se espera entregar los primeros recintos teniendo la totalidad para el año 2032.</a:t>
            </a:r>
          </a:p>
          <a:p>
            <a:pPr lvl="1" fontAlgn="b">
              <a:defRPr/>
            </a:pPr>
            <a:endParaRPr kumimoji="0" lang="es-CL"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a:p>
            <a:pPr marL="171450" indent="-171450" fontAlgn="b">
              <a:buFont typeface="Arial" panose="020B0604020202020204" pitchFamily="34" charset="0"/>
              <a:buChar char="•"/>
              <a:defRPr/>
            </a:pPr>
            <a:r>
              <a:rPr kumimoji="0" lang="es-MX"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Implementación A/C cabina trenes ​AS-02:</a:t>
            </a:r>
          </a:p>
          <a:p>
            <a:pPr lvl="1" fontAlgn="b">
              <a:defRPr/>
            </a:pPr>
            <a:r>
              <a:rPr kumimoji="0" lang="es-MX" sz="120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Instalar 20 equipos de aire acondicionado en las cabinas de 10 módulos que circulan en las líneas 4A para asegurar el confort térmico, además de adecuar el foso n°4 del taller Puente Alto para el mantenimiento de AC de trenes.​ Fecha termino estimada: 1er modulo en 2027 y resto de módulos progresivamente hasta 2do semestre 2029.</a:t>
            </a:r>
          </a:p>
          <a:p>
            <a:pPr lvl="1" fontAlgn="b">
              <a:defRPr/>
            </a:pPr>
            <a:endParaRPr lang="es-MX"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Información sobre el estado de los ascensores:</a:t>
            </a:r>
          </a:p>
          <a:p>
            <a:pPr lvl="1" fontAlgn="b">
              <a:defRPr/>
            </a:pPr>
            <a:r>
              <a:rPr lang="es-MX" sz="1200" dirty="0">
                <a:solidFill>
                  <a:prstClr val="black">
                    <a:lumMod val="75000"/>
                    <a:lumOff val="25000"/>
                  </a:prstClr>
                </a:solidFill>
                <a:latin typeface="Century Gothic" panose="020B0502020202020204" pitchFamily="34" charset="0"/>
              </a:rPr>
              <a:t>Proyecto busca </a:t>
            </a:r>
            <a:r>
              <a:rPr lang="es-ES" sz="1200" dirty="0">
                <a:solidFill>
                  <a:schemeClr val="tx1">
                    <a:lumMod val="65000"/>
                    <a:lumOff val="35000"/>
                  </a:schemeClr>
                </a:solidFill>
                <a:latin typeface="Century Gothic" panose="020B0502020202020204" pitchFamily="34" charset="0"/>
              </a:rPr>
              <a:t>Implementar un sistema que permita visualizar en tiempo real el estado de todos los ascensores de la Red e integrar con la app y web de Metro (líneas convencionales y líneas automáticas). Fecha termino estimada: 2do semestre 2027.</a:t>
            </a:r>
          </a:p>
          <a:p>
            <a:pPr lvl="1" fontAlgn="b">
              <a:defRPr/>
            </a:pPr>
            <a:endParaRPr lang="es-ES" sz="1200" dirty="0">
              <a:solidFill>
                <a:schemeClr val="tx1">
                  <a:lumMod val="65000"/>
                  <a:lumOff val="35000"/>
                </a:schemeClr>
              </a:solidFill>
              <a:latin typeface="Century Gothic" panose="020B0502020202020204" pitchFamily="34" charset="0"/>
            </a:endParaRPr>
          </a:p>
          <a:p>
            <a:pPr marL="171450" indent="-171450" fontAlgn="b">
              <a:buFont typeface="Arial" panose="020B0604020202020204" pitchFamily="34" charset="0"/>
              <a:buChar char="•"/>
              <a:defRPr/>
            </a:pPr>
            <a:r>
              <a:rPr lang="es-ES" sz="1200" b="1" dirty="0">
                <a:solidFill>
                  <a:prstClr val="black">
                    <a:lumMod val="75000"/>
                    <a:lumOff val="25000"/>
                  </a:prstClr>
                </a:solidFill>
                <a:latin typeface="Century Gothic" panose="020B0502020202020204" pitchFamily="34" charset="0"/>
              </a:rPr>
              <a:t>Renovación del transporte vertical:</a:t>
            </a:r>
          </a:p>
          <a:p>
            <a:pPr lvl="1" fontAlgn="b">
              <a:defRPr/>
            </a:pPr>
            <a:r>
              <a:rPr lang="es-ES" sz="1200" dirty="0">
                <a:solidFill>
                  <a:prstClr val="black">
                    <a:lumMod val="75000"/>
                    <a:lumOff val="25000"/>
                  </a:prstClr>
                </a:solidFill>
                <a:latin typeface="Century Gothic" panose="020B0502020202020204" pitchFamily="34" charset="0"/>
              </a:rPr>
              <a:t>Este proyecto tiene como alcance realizar el recambio de todos los equipos de transporte vertical (ascensores y escaleras mecánicas) que se encuentren cercanos al fin de su vida útil, de esta manera se garantiza la continuidad del servicio en las estaciones. Fecha termino estimada: 20 plataformas progresivamente desde 2025 hasta 2026, 32 ascensores progresivamente desde 2026 hasta 2029. Resto del parque hasta 2034.</a:t>
            </a:r>
          </a:p>
          <a:p>
            <a:pPr lvl="1" fontAlgn="b">
              <a:defRPr/>
            </a:pPr>
            <a:endParaRPr lang="es-ES"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Ampliación del parque de transporte vertical:</a:t>
            </a:r>
          </a:p>
          <a:p>
            <a:pPr lvl="1" fontAlgn="b">
              <a:defRPr/>
            </a:pPr>
            <a:r>
              <a:rPr lang="es-MX" sz="1200" dirty="0">
                <a:solidFill>
                  <a:prstClr val="black">
                    <a:lumMod val="75000"/>
                    <a:lumOff val="25000"/>
                  </a:prstClr>
                </a:solidFill>
                <a:latin typeface="Century Gothic" panose="020B0502020202020204" pitchFamily="34" charset="0"/>
              </a:rPr>
              <a:t>Este proyecto tiene el objetivo de mejorar la accesibilidad a personas con discapacidades en estación ecuador, por lo tanto, se instalará un ascensor adicional a los existentes para tener un respaldo en caso de averías. Fecha termino estimada: 2do semestre 2026.</a:t>
            </a:r>
            <a:endParaRPr lang="es-ES" sz="1200" dirty="0">
              <a:solidFill>
                <a:prstClr val="black">
                  <a:lumMod val="75000"/>
                  <a:lumOff val="25000"/>
                </a:prstClr>
              </a:solidFill>
              <a:latin typeface="Century Gothic" panose="020B0502020202020204" pitchFamily="34" charset="0"/>
            </a:endParaRPr>
          </a:p>
          <a:p>
            <a:pPr lvl="1" fontAlgn="b">
              <a:defRPr/>
            </a:pPr>
            <a:endParaRPr lang="es-ES"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Corrección de brechas de accesibilidad en estaciones:</a:t>
            </a:r>
          </a:p>
          <a:p>
            <a:pPr lvl="1" fontAlgn="b">
              <a:defRPr/>
            </a:pPr>
            <a:r>
              <a:rPr lang="es-MX" sz="1200" dirty="0">
                <a:solidFill>
                  <a:prstClr val="black">
                    <a:lumMod val="75000"/>
                    <a:lumOff val="25000"/>
                  </a:prstClr>
                </a:solidFill>
                <a:latin typeface="Century Gothic" panose="020B0502020202020204" pitchFamily="34" charset="0"/>
              </a:rPr>
              <a:t>Esta iniciativa tiene como objetivo detectar brechas existentes e implementar medidas para mejorar la información a pasajeros como: señaléticas, rutas y todo lo asociado a direccionamiento e información a clientes. Fecha termino estimada: 1er semestre 2028.</a:t>
            </a:r>
          </a:p>
          <a:p>
            <a:pPr lvl="1" fontAlgn="b">
              <a:defRPr/>
            </a:pPr>
            <a:endParaRPr lang="es-ES"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Implementación de aire acondicionado en trenes:</a:t>
            </a:r>
            <a:endParaRPr lang="es-MX" sz="1200" dirty="0">
              <a:solidFill>
                <a:prstClr val="black">
                  <a:lumMod val="75000"/>
                  <a:lumOff val="25000"/>
                </a:prstClr>
              </a:solidFill>
              <a:latin typeface="Century Gothic" panose="020B0502020202020204" pitchFamily="34" charset="0"/>
            </a:endParaRPr>
          </a:p>
          <a:p>
            <a:pPr marL="628650" lvl="1" indent="-171450" fontAlgn="b">
              <a:buFont typeface="Arial" panose="020B0604020202020204" pitchFamily="34" charset="0"/>
              <a:buChar char="•"/>
              <a:defRPr/>
            </a:pPr>
            <a:r>
              <a:rPr lang="es-MX" sz="1200" dirty="0">
                <a:solidFill>
                  <a:prstClr val="black">
                    <a:lumMod val="75000"/>
                    <a:lumOff val="25000"/>
                  </a:prstClr>
                </a:solidFill>
                <a:latin typeface="Century Gothic" panose="020B0502020202020204" pitchFamily="34" charset="0"/>
              </a:rPr>
              <a:t>Implementar equipamiento de aire acondicionado en los trenes NS-93 con el objetivo de brindar al usuario mayor confort en su viaje. Fecha termino estimada: 1er tren 2028 y total trenes en 2032.</a:t>
            </a:r>
          </a:p>
          <a:p>
            <a:pPr marL="628650" lvl="1" indent="-171450" fontAlgn="b">
              <a:buFont typeface="Arial" panose="020B0604020202020204" pitchFamily="34" charset="0"/>
              <a:buChar char="•"/>
              <a:defRPr/>
            </a:pPr>
            <a:endParaRPr lang="es-MX"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Reposición trenes NS-74:</a:t>
            </a:r>
          </a:p>
          <a:p>
            <a:pPr lvl="1" fontAlgn="b">
              <a:defRPr/>
            </a:pPr>
            <a:r>
              <a:rPr lang="es-MX" sz="1200" dirty="0">
                <a:solidFill>
                  <a:prstClr val="black">
                    <a:lumMod val="75000"/>
                    <a:lumOff val="25000"/>
                  </a:prstClr>
                </a:solidFill>
                <a:latin typeface="Century Gothic" panose="020B0502020202020204" pitchFamily="34" charset="0"/>
              </a:rPr>
              <a:t>Actualmente estos trenes están siendo intervenidos para ejecutar mejoras y reemplazar componentes críticos con el objetivo de alargar su vida útil en 10 años adicionales, esto se traduce que aproximadamente a partir del año 2030 llegarían a su fin los primeros trenes intervenidos, por lo tanto, se deberán renovar por trenes nuevos. Fecha termino estimada: 1er tren 2031 y último tren 2034.</a:t>
            </a:r>
            <a:endParaRPr lang="es-ES" sz="1200" dirty="0">
              <a:solidFill>
                <a:schemeClr val="tx1">
                  <a:lumMod val="65000"/>
                  <a:lumOff val="35000"/>
                </a:schemeClr>
              </a:solidFill>
              <a:latin typeface="Century Gothic" panose="020B0502020202020204" pitchFamily="34" charset="0"/>
            </a:endParaRPr>
          </a:p>
        </p:txBody>
      </p:sp>
    </p:spTree>
    <p:extLst>
      <p:ext uri="{BB962C8B-B14F-4D97-AF65-F5344CB8AC3E}">
        <p14:creationId xmlns:p14="http://schemas.microsoft.com/office/powerpoint/2010/main" val="292140142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B764C80-F2E2-BE05-B4CA-07BBD8C4F72E}"/>
              </a:ext>
            </a:extLst>
          </p:cNvPr>
          <p:cNvGraphicFramePr>
            <a:graphicFrameLocks noChangeAspect="1"/>
          </p:cNvGraphicFramePr>
          <p:nvPr>
            <p:custDataLst>
              <p:tags r:id="rId2"/>
            </p:custDataLst>
            <p:extLst>
              <p:ext uri="{D42A27DB-BD31-4B8C-83A1-F6EECF244321}">
                <p14:modId xmlns:p14="http://schemas.microsoft.com/office/powerpoint/2010/main" val="351264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Diapositiva de think-cell" r:id="rId4" imgW="404" imgH="405" progId="TCLayout.ActiveDocument.1">
                  <p:embed/>
                </p:oleObj>
              </mc:Choice>
              <mc:Fallback>
                <p:oleObj name="Diapositiva de think-cell" r:id="rId4" imgW="404" imgH="405" progId="TCLayout.ActiveDocument.1">
                  <p:embed/>
                  <p:pic>
                    <p:nvPicPr>
                      <p:cNvPr id="4" name="think-cell data - do not delete" hidden="1">
                        <a:extLst>
                          <a:ext uri="{FF2B5EF4-FFF2-40B4-BE49-F238E27FC236}">
                            <a16:creationId xmlns:a16="http://schemas.microsoft.com/office/drawing/2014/main" id="{FB764C80-F2E2-BE05-B4CA-07BBD8C4F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uadroTexto 5">
            <a:extLst>
              <a:ext uri="{FF2B5EF4-FFF2-40B4-BE49-F238E27FC236}">
                <a16:creationId xmlns:a16="http://schemas.microsoft.com/office/drawing/2014/main" id="{5DA4E936-99E1-70A5-9A1C-8954A5D652D2}"/>
              </a:ext>
            </a:extLst>
          </p:cNvPr>
          <p:cNvSpPr txBox="1"/>
          <p:nvPr/>
        </p:nvSpPr>
        <p:spPr>
          <a:xfrm>
            <a:off x="147800" y="33573"/>
            <a:ext cx="11969987" cy="6740307"/>
          </a:xfrm>
          <a:prstGeom prst="rect">
            <a:avLst/>
          </a:prstGeom>
          <a:noFill/>
        </p:spPr>
        <p:txBody>
          <a:bodyPr wrap="square">
            <a:spAutoFit/>
          </a:bodyPr>
          <a:lstStyle/>
          <a:p>
            <a:pPr marL="171450" marR="0" lvl="0" indent="-171450"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s-CL"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Modernización sistema CCTV:</a:t>
            </a:r>
            <a:endParaRPr lang="es-CL" sz="1200" b="1" dirty="0">
              <a:solidFill>
                <a:prstClr val="black">
                  <a:lumMod val="75000"/>
                  <a:lumOff val="25000"/>
                </a:prstClr>
              </a:solidFill>
              <a:latin typeface="Century Gothic" panose="020B0502020202020204" pitchFamily="34" charset="0"/>
            </a:endParaRPr>
          </a:p>
          <a:p>
            <a:pPr lvl="1" fontAlgn="b">
              <a:defRPr/>
            </a:pPr>
            <a:r>
              <a:rPr lang="es-CL" sz="1200" dirty="0">
                <a:solidFill>
                  <a:prstClr val="black">
                    <a:lumMod val="75000"/>
                    <a:lumOff val="25000"/>
                  </a:prstClr>
                </a:solidFill>
                <a:latin typeface="Century Gothic" panose="020B0502020202020204" pitchFamily="34" charset="0"/>
              </a:rPr>
              <a:t>Proyecto iniciará con un estudio que busca renovar el equipamiento y tecnología existente con el objetivo de robustecer el sistema de videovigilancia de la red, así como también hacerlo más eficiente en la detección oportuna de incivilidades. Fecha termino estimada: dependerá del resultado del estudio.</a:t>
            </a:r>
          </a:p>
          <a:p>
            <a:pPr lvl="1" fontAlgn="b">
              <a:defRPr/>
            </a:pPr>
            <a:endParaRPr kumimoji="0" lang="es-CL"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a:p>
            <a:pPr marL="171450" indent="-171450" fontAlgn="b">
              <a:buFont typeface="Arial" panose="020B0604020202020204" pitchFamily="34" charset="0"/>
              <a:buChar char="•"/>
              <a:defRPr/>
            </a:pPr>
            <a:r>
              <a:rPr kumimoji="0" lang="es-MX"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Digitalización y modernización del sistema de información:</a:t>
            </a:r>
          </a:p>
          <a:p>
            <a:pPr lvl="1" fontAlgn="b">
              <a:defRPr/>
            </a:pPr>
            <a:r>
              <a:rPr kumimoji="0" lang="es-MX" sz="120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Esta iniciativa busca cerrar brechas de comunicaciones hacia y desde los clientes, el objetivo es mejorar los canales actuales y en paralelo proporcionar nuevas tecnologías que permitan una comunicación efectiva y poder atender los requerimientos de los clientes en tiempo real. Fecha termino estimada: 2027</a:t>
            </a:r>
          </a:p>
          <a:p>
            <a:pPr lvl="1" fontAlgn="b">
              <a:defRPr/>
            </a:pPr>
            <a:endParaRPr lang="es-MX"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Habilitación de Gran Revisión en TNP:</a:t>
            </a:r>
          </a:p>
          <a:p>
            <a:pPr lvl="1" fontAlgn="b">
              <a:defRPr/>
            </a:pPr>
            <a:r>
              <a:rPr lang="es-MX" sz="1200" dirty="0">
                <a:solidFill>
                  <a:prstClr val="black">
                    <a:lumMod val="75000"/>
                    <a:lumOff val="25000"/>
                  </a:prstClr>
                </a:solidFill>
                <a:latin typeface="Century Gothic" panose="020B0502020202020204" pitchFamily="34" charset="0"/>
              </a:rPr>
              <a:t>Proyecto tiene como objetivo realizar trabajos de obras civiles y montaje de equipamiento para habilitar espacios en taller Neptuno que permita atender los mantenimientos mayores de los trenes NS-16, NS-07 y NS-04. Fecha estimada termino: 2do semestre 2027</a:t>
            </a:r>
            <a:endParaRPr lang="es-ES" sz="1200" dirty="0">
              <a:solidFill>
                <a:schemeClr val="tx1">
                  <a:lumMod val="65000"/>
                  <a:lumOff val="35000"/>
                </a:schemeClr>
              </a:solidFill>
              <a:latin typeface="Century Gothic" panose="020B0502020202020204" pitchFamily="34" charset="0"/>
            </a:endParaRPr>
          </a:p>
          <a:p>
            <a:pPr lvl="1" fontAlgn="b">
              <a:defRPr/>
            </a:pPr>
            <a:endParaRPr lang="es-ES" sz="1200" dirty="0">
              <a:solidFill>
                <a:schemeClr val="tx1">
                  <a:lumMod val="65000"/>
                  <a:lumOff val="35000"/>
                </a:schemeClr>
              </a:solidFill>
              <a:latin typeface="Century Gothic" panose="020B0502020202020204" pitchFamily="34" charset="0"/>
            </a:endParaRPr>
          </a:p>
          <a:p>
            <a:pPr marL="171450" indent="-171450" fontAlgn="b">
              <a:buFont typeface="Arial" panose="020B0604020202020204" pitchFamily="34" charset="0"/>
              <a:buChar char="•"/>
              <a:defRPr/>
            </a:pPr>
            <a:r>
              <a:rPr lang="es-ES" sz="1200" b="1" dirty="0">
                <a:solidFill>
                  <a:prstClr val="black">
                    <a:lumMod val="75000"/>
                    <a:lumOff val="25000"/>
                  </a:prstClr>
                </a:solidFill>
                <a:latin typeface="Century Gothic" panose="020B0502020202020204" pitchFamily="34" charset="0"/>
              </a:rPr>
              <a:t>Equipos para tareas de mantenimiento:</a:t>
            </a:r>
          </a:p>
          <a:p>
            <a:pPr lvl="1" fontAlgn="b">
              <a:defRPr/>
            </a:pPr>
            <a:r>
              <a:rPr lang="es-ES" sz="1200" dirty="0">
                <a:solidFill>
                  <a:prstClr val="black">
                    <a:lumMod val="75000"/>
                    <a:lumOff val="25000"/>
                  </a:prstClr>
                </a:solidFill>
                <a:latin typeface="Century Gothic" panose="020B0502020202020204" pitchFamily="34" charset="0"/>
              </a:rPr>
              <a:t>Este proyecto tiene como alcance realizar compras de equipos y herramientas estratégicas para las tareas del mantenimiento. Fecha entrega estimada: 2025 y 2026.</a:t>
            </a:r>
          </a:p>
          <a:p>
            <a:pPr lvl="1" fontAlgn="b">
              <a:defRPr/>
            </a:pPr>
            <a:endParaRPr lang="es-ES"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Recambio de aparatos de vías y sistemas de señalización y pilotaje automático:</a:t>
            </a:r>
          </a:p>
          <a:p>
            <a:pPr lvl="1" fontAlgn="b">
              <a:defRPr/>
            </a:pPr>
            <a:r>
              <a:rPr lang="es-MX" sz="1200" dirty="0">
                <a:solidFill>
                  <a:prstClr val="black">
                    <a:lumMod val="75000"/>
                    <a:lumOff val="25000"/>
                  </a:prstClr>
                </a:solidFill>
                <a:latin typeface="Century Gothic" panose="020B0502020202020204" pitchFamily="34" charset="0"/>
              </a:rPr>
              <a:t>Actualmente están en desarrollo 2 estudios relacionados a vías y señalización, los cuales permitirán conocer con mayor precisión el estado actual de estos sistemas, por lo tanto, el objetivo del proyecto dependerá principalmente de los resultados de ambos estudios, pero con el alcance de renovar los componentes críticos o con estado de obsolescencia de manera de disminuir el riesgo por averías. Fecha termino dependerá de los resultados de los estudios.</a:t>
            </a:r>
            <a:endParaRPr lang="es-ES" sz="1200" dirty="0">
              <a:solidFill>
                <a:prstClr val="black">
                  <a:lumMod val="75000"/>
                  <a:lumOff val="25000"/>
                </a:prstClr>
              </a:solidFill>
              <a:latin typeface="Century Gothic" panose="020B0502020202020204" pitchFamily="34" charset="0"/>
            </a:endParaRPr>
          </a:p>
          <a:p>
            <a:pPr lvl="1" fontAlgn="b">
              <a:defRPr/>
            </a:pPr>
            <a:endParaRPr lang="es-ES"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Refuerzo Pilar viaducto L4 y Techumbre TPA:</a:t>
            </a:r>
            <a:endParaRPr lang="es-MX" sz="1200" dirty="0">
              <a:solidFill>
                <a:prstClr val="black">
                  <a:lumMod val="75000"/>
                  <a:lumOff val="25000"/>
                </a:prstClr>
              </a:solidFill>
              <a:latin typeface="Century Gothic" panose="020B0502020202020204" pitchFamily="34" charset="0"/>
            </a:endParaRPr>
          </a:p>
          <a:p>
            <a:pPr marL="628650" lvl="1" indent="-171450" fontAlgn="b">
              <a:buFont typeface="Arial" panose="020B0604020202020204" pitchFamily="34" charset="0"/>
              <a:buChar char="•"/>
              <a:defRPr/>
            </a:pPr>
            <a:r>
              <a:rPr lang="es-MX" sz="1200" dirty="0">
                <a:solidFill>
                  <a:prstClr val="black">
                    <a:lumMod val="75000"/>
                    <a:lumOff val="25000"/>
                  </a:prstClr>
                </a:solidFill>
                <a:latin typeface="Century Gothic" panose="020B0502020202020204" pitchFamily="34" charset="0"/>
              </a:rPr>
              <a:t>De acuerdo con resultado de estudios realizados, se determinó la necesidad de reforzar un pilar del viaducto de L4 en estación Protectora de la Infancia, además de reemplazar la techumbre existente en taller Puente Alto. </a:t>
            </a:r>
            <a:r>
              <a:rPr kumimoji="0" lang="es-MX" sz="120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Fecha termino estimada: 2027</a:t>
            </a:r>
            <a:endParaRPr lang="es-MX" sz="1200" dirty="0">
              <a:solidFill>
                <a:prstClr val="black">
                  <a:lumMod val="75000"/>
                  <a:lumOff val="25000"/>
                </a:prstClr>
              </a:solidFill>
              <a:latin typeface="Century Gothic" panose="020B0502020202020204" pitchFamily="34" charset="0"/>
            </a:endParaRPr>
          </a:p>
          <a:p>
            <a:pPr marL="628650" lvl="1" indent="-171450" fontAlgn="b">
              <a:buFont typeface="Arial" panose="020B0604020202020204" pitchFamily="34" charset="0"/>
              <a:buChar char="•"/>
              <a:defRPr/>
            </a:pPr>
            <a:endParaRPr lang="es-MX"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Comunicación entre CCO y el salón del tren LLCC:</a:t>
            </a:r>
          </a:p>
          <a:p>
            <a:pPr lvl="1" fontAlgn="b">
              <a:defRPr/>
            </a:pPr>
            <a:r>
              <a:rPr lang="es-MX" sz="1200" dirty="0">
                <a:solidFill>
                  <a:prstClr val="black">
                    <a:lumMod val="75000"/>
                    <a:lumOff val="25000"/>
                  </a:prstClr>
                </a:solidFill>
                <a:latin typeface="Century Gothic" panose="020B0502020202020204" pitchFamily="34" charset="0"/>
              </a:rPr>
              <a:t>Esta iniciativa busca otorgar mayores herramientas al Regulador de PCC en el tratamiento de averías, esto en pro de mejorar nuestros tiempos de </a:t>
            </a:r>
            <a:r>
              <a:rPr lang="es-MX" sz="1200" dirty="0" err="1">
                <a:solidFill>
                  <a:prstClr val="black">
                    <a:lumMod val="75000"/>
                    <a:lumOff val="25000"/>
                  </a:prstClr>
                </a:solidFill>
                <a:latin typeface="Century Gothic" panose="020B0502020202020204" pitchFamily="34" charset="0"/>
              </a:rPr>
              <a:t>recovery</a:t>
            </a:r>
            <a:r>
              <a:rPr lang="es-MX" sz="1200" dirty="0">
                <a:solidFill>
                  <a:prstClr val="black">
                    <a:lumMod val="75000"/>
                    <a:lumOff val="25000"/>
                  </a:prstClr>
                </a:solidFill>
                <a:latin typeface="Century Gothic" panose="020B0502020202020204" pitchFamily="34" charset="0"/>
              </a:rPr>
              <a:t> operacional ante averías. </a:t>
            </a:r>
            <a:r>
              <a:rPr kumimoji="0" lang="es-MX" sz="120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Fecha termino estimada: 2026.</a:t>
            </a:r>
          </a:p>
          <a:p>
            <a:pPr lvl="1" fontAlgn="b">
              <a:defRPr/>
            </a:pPr>
            <a:endParaRPr lang="es-MX"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Implementación análisis del Mantenimiento:</a:t>
            </a:r>
            <a:endParaRPr lang="es-MX" sz="1200" dirty="0">
              <a:solidFill>
                <a:prstClr val="black">
                  <a:lumMod val="75000"/>
                  <a:lumOff val="25000"/>
                </a:prstClr>
              </a:solidFill>
              <a:latin typeface="Century Gothic" panose="020B0502020202020204" pitchFamily="34" charset="0"/>
            </a:endParaRPr>
          </a:p>
          <a:p>
            <a:pPr lvl="1" fontAlgn="b">
              <a:defRPr/>
            </a:pPr>
            <a:r>
              <a:rPr lang="es-MX" sz="1200" dirty="0">
                <a:solidFill>
                  <a:prstClr val="black">
                    <a:lumMod val="75000"/>
                    <a:lumOff val="25000"/>
                  </a:prstClr>
                </a:solidFill>
                <a:latin typeface="Century Gothic" panose="020B0502020202020204" pitchFamily="34" charset="0"/>
              </a:rPr>
              <a:t>Actualmente existe en desarrollo un estudio que permitirá precisar brechas y oportunidades de mejora en las actividades y planes de mantenimiento, por lo tanto, el objetivo del proyecto dependerá principalmente del resultado de este estudio, pero con el alcance de implementar mejoras (habilitar espacios y adquisición de equipamiento estratégico) para lograr mayor eficiencia. Fecha termino dependerá de los resultados del estudio.</a:t>
            </a:r>
            <a:endParaRPr lang="es-ES" sz="1200" dirty="0">
              <a:solidFill>
                <a:prstClr val="black">
                  <a:lumMod val="75000"/>
                  <a:lumOff val="25000"/>
                </a:prstClr>
              </a:solidFill>
              <a:latin typeface="Century Gothic" panose="020B0502020202020204" pitchFamily="34" charset="0"/>
            </a:endParaRPr>
          </a:p>
        </p:txBody>
      </p:sp>
    </p:spTree>
    <p:extLst>
      <p:ext uri="{BB962C8B-B14F-4D97-AF65-F5344CB8AC3E}">
        <p14:creationId xmlns:p14="http://schemas.microsoft.com/office/powerpoint/2010/main" val="7307986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B764C80-F2E2-BE05-B4CA-07BBD8C4F72E}"/>
              </a:ext>
            </a:extLst>
          </p:cNvPr>
          <p:cNvGraphicFramePr>
            <a:graphicFrameLocks noChangeAspect="1"/>
          </p:cNvGraphicFramePr>
          <p:nvPr>
            <p:custDataLst>
              <p:tags r:id="rId2"/>
            </p:custDataLst>
            <p:extLst>
              <p:ext uri="{D42A27DB-BD31-4B8C-83A1-F6EECF244321}">
                <p14:modId xmlns:p14="http://schemas.microsoft.com/office/powerpoint/2010/main" val="187120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Diapositiva de think-cell" r:id="rId4" imgW="404" imgH="405" progId="TCLayout.ActiveDocument.1">
                  <p:embed/>
                </p:oleObj>
              </mc:Choice>
              <mc:Fallback>
                <p:oleObj name="Diapositiva de think-cell" r:id="rId4" imgW="404" imgH="405" progId="TCLayout.ActiveDocument.1">
                  <p:embed/>
                  <p:pic>
                    <p:nvPicPr>
                      <p:cNvPr id="4" name="think-cell data - do not delete" hidden="1">
                        <a:extLst>
                          <a:ext uri="{FF2B5EF4-FFF2-40B4-BE49-F238E27FC236}">
                            <a16:creationId xmlns:a16="http://schemas.microsoft.com/office/drawing/2014/main" id="{FB764C80-F2E2-BE05-B4CA-07BBD8C4F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uadroTexto 5">
            <a:extLst>
              <a:ext uri="{FF2B5EF4-FFF2-40B4-BE49-F238E27FC236}">
                <a16:creationId xmlns:a16="http://schemas.microsoft.com/office/drawing/2014/main" id="{5DA4E936-99E1-70A5-9A1C-8954A5D652D2}"/>
              </a:ext>
            </a:extLst>
          </p:cNvPr>
          <p:cNvSpPr txBox="1"/>
          <p:nvPr/>
        </p:nvSpPr>
        <p:spPr>
          <a:xfrm>
            <a:off x="111006" y="151179"/>
            <a:ext cx="11969987" cy="6924973"/>
          </a:xfrm>
          <a:prstGeom prst="rect">
            <a:avLst/>
          </a:prstGeom>
          <a:noFill/>
        </p:spPr>
        <p:txBody>
          <a:bodyPr wrap="square">
            <a:spAutoFit/>
          </a:bodyPr>
          <a:lstStyle/>
          <a:p>
            <a:pPr marL="171450" marR="0" lvl="0" indent="-171450"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kumimoji="0" lang="es-MX"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Mejoras en </a:t>
            </a:r>
            <a:r>
              <a:rPr kumimoji="0" lang="es-MX" sz="1200" b="1" i="0" u="none" strike="noStrike" kern="1200" cap="none" spc="0" normalizeH="0" baseline="0" noProof="0" dirty="0" err="1">
                <a:ln>
                  <a:noFill/>
                </a:ln>
                <a:solidFill>
                  <a:prstClr val="black">
                    <a:lumMod val="75000"/>
                    <a:lumOff val="25000"/>
                  </a:prstClr>
                </a:solidFill>
                <a:effectLst/>
                <a:uLnTx/>
                <a:uFillTx/>
                <a:latin typeface="Century Gothic" panose="020B0502020202020204" pitchFamily="34" charset="0"/>
                <a:ea typeface="+mn-ea"/>
                <a:cs typeface="+mn-cs"/>
              </a:rPr>
              <a:t>layout</a:t>
            </a:r>
            <a:r>
              <a:rPr kumimoji="0" lang="es-MX"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 en el CCO</a:t>
            </a:r>
            <a:r>
              <a:rPr kumimoji="0" lang="es-CL"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a:t>
            </a:r>
            <a:endParaRPr lang="es-CL" sz="1200" b="1" dirty="0">
              <a:solidFill>
                <a:prstClr val="black">
                  <a:lumMod val="75000"/>
                  <a:lumOff val="25000"/>
                </a:prstClr>
              </a:solidFill>
              <a:latin typeface="Century Gothic" panose="020B0502020202020204" pitchFamily="34" charset="0"/>
            </a:endParaRPr>
          </a:p>
          <a:p>
            <a:pPr lvl="1" fontAlgn="b">
              <a:defRPr/>
            </a:pPr>
            <a:r>
              <a:rPr lang="es-CL" sz="1200" dirty="0">
                <a:solidFill>
                  <a:prstClr val="black">
                    <a:lumMod val="75000"/>
                    <a:lumOff val="25000"/>
                  </a:prstClr>
                </a:solidFill>
                <a:latin typeface="Century Gothic" panose="020B0502020202020204" pitchFamily="34" charset="0"/>
              </a:rPr>
              <a:t>Iniciativa tiene como objetivo precisar y ejecutar las mejoras necesarias en el Centro de Control de Operaciones de manera que permita contar con distribuciones (</a:t>
            </a:r>
            <a:r>
              <a:rPr lang="es-CL" sz="1200" dirty="0" err="1">
                <a:solidFill>
                  <a:prstClr val="black">
                    <a:lumMod val="75000"/>
                    <a:lumOff val="25000"/>
                  </a:prstClr>
                </a:solidFill>
                <a:latin typeface="Century Gothic" panose="020B0502020202020204" pitchFamily="34" charset="0"/>
              </a:rPr>
              <a:t>layout</a:t>
            </a:r>
            <a:r>
              <a:rPr lang="es-CL" sz="1200" dirty="0">
                <a:solidFill>
                  <a:prstClr val="black">
                    <a:lumMod val="75000"/>
                    <a:lumOff val="25000"/>
                  </a:prstClr>
                </a:solidFill>
                <a:latin typeface="Century Gothic" panose="020B0502020202020204" pitchFamily="34" charset="0"/>
              </a:rPr>
              <a:t>)y procesos más eficientes. Fecha termino estimada: 2029.</a:t>
            </a:r>
          </a:p>
          <a:p>
            <a:pPr lvl="1" fontAlgn="b">
              <a:defRPr/>
            </a:pPr>
            <a:endParaRPr kumimoji="0" lang="es-CL"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a:p>
            <a:pPr marL="171450" indent="-171450" fontAlgn="b">
              <a:buFont typeface="Arial" panose="020B0604020202020204" pitchFamily="34" charset="0"/>
              <a:buChar char="•"/>
              <a:defRPr/>
            </a:pPr>
            <a:r>
              <a:rPr kumimoji="0" lang="es-MX" sz="1200" b="1"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Migración de data center a la nube :</a:t>
            </a:r>
          </a:p>
          <a:p>
            <a:pPr lvl="1" fontAlgn="b">
              <a:defRPr/>
            </a:pPr>
            <a:r>
              <a:rPr kumimoji="0" lang="es-MX" sz="120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Esta iniciativa tiene el objetivo de </a:t>
            </a:r>
            <a:r>
              <a:rPr lang="es-ES" sz="1200" dirty="0">
                <a:solidFill>
                  <a:schemeClr val="tx1">
                    <a:lumMod val="75000"/>
                    <a:lumOff val="25000"/>
                  </a:schemeClr>
                </a:solidFill>
                <a:latin typeface="Century Gothic" panose="020B0502020202020204" pitchFamily="34" charset="0"/>
              </a:rPr>
              <a:t>aumentar la seguridad en </a:t>
            </a:r>
            <a:r>
              <a:rPr kumimoji="0" lang="es-ES" sz="120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a typeface="+mn-ea"/>
                <a:cs typeface="+mn-cs"/>
              </a:rPr>
              <a:t>Data Center</a:t>
            </a:r>
            <a:r>
              <a:rPr kumimoji="0" lang="es-ES" sz="12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a typeface="+mn-ea"/>
                <a:cs typeface="+mn-cs"/>
              </a:rPr>
              <a:t> </a:t>
            </a:r>
            <a:r>
              <a:rPr kumimoji="0" lang="es-ES" sz="12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a typeface="+mn-ea"/>
                <a:cs typeface="+mn-cs"/>
              </a:rPr>
              <a:t>(</a:t>
            </a:r>
            <a:r>
              <a:rPr lang="es-ES" sz="1200" dirty="0">
                <a:solidFill>
                  <a:schemeClr val="tx1">
                    <a:lumMod val="75000"/>
                    <a:lumOff val="25000"/>
                  </a:schemeClr>
                </a:solidFill>
                <a:latin typeface="Century Gothic" panose="020B0502020202020204" pitchFamily="34" charset="0"/>
              </a:rPr>
              <a:t>e</a:t>
            </a:r>
            <a:r>
              <a:rPr kumimoji="0" lang="es-ES" sz="12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a typeface="+mn-ea"/>
                <a:cs typeface="+mn-cs"/>
              </a:rPr>
              <a:t>quipos físicos), con la implementación de </a:t>
            </a:r>
            <a:r>
              <a:rPr kumimoji="0" lang="es-ES" sz="120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a typeface="+mn-ea"/>
                <a:cs typeface="+mn-cs"/>
              </a:rPr>
              <a:t>servicios en la nube </a:t>
            </a:r>
            <a:r>
              <a:rPr kumimoji="0" lang="es-ES" sz="12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a typeface="+mn-ea"/>
                <a:cs typeface="+mn-cs"/>
              </a:rPr>
              <a:t>(Cloud Computing), apegándose a la Normativa de Contratación y uso de Servicios en la nube y generando un </a:t>
            </a:r>
            <a:r>
              <a:rPr kumimoji="0" lang="es-ES" sz="120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a typeface="+mn-ea"/>
                <a:cs typeface="+mn-cs"/>
              </a:rPr>
              <a:t>respaldo robusto de información de la empresa</a:t>
            </a:r>
            <a:r>
              <a:rPr kumimoji="0" lang="es-MX" sz="120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rPr>
              <a:t>. Fecha termino estimada: 2027.</a:t>
            </a:r>
          </a:p>
          <a:p>
            <a:pPr lvl="1" fontAlgn="b">
              <a:defRPr/>
            </a:pPr>
            <a:endParaRPr lang="es-MX"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Renovación de UTR seriales de Línea 5:</a:t>
            </a:r>
          </a:p>
          <a:p>
            <a:pPr lvl="1" fontAlgn="b">
              <a:defRPr/>
            </a:pPr>
            <a:r>
              <a:rPr lang="es-MX" sz="1200" dirty="0">
                <a:solidFill>
                  <a:prstClr val="black">
                    <a:lumMod val="75000"/>
                    <a:lumOff val="25000"/>
                  </a:prstClr>
                </a:solidFill>
                <a:latin typeface="Century Gothic" panose="020B0502020202020204" pitchFamily="34" charset="0"/>
              </a:rPr>
              <a:t>Proyecto tiene como objetivo renovar las Unidades Terminales Remotas del sistema de Comando en las estaciones de L5, las cuales actualmente presentan obsolescencia. Fecha estimada termino: 2027.</a:t>
            </a:r>
          </a:p>
          <a:p>
            <a:pPr lvl="1" fontAlgn="b">
              <a:defRPr/>
            </a:pPr>
            <a:endParaRPr lang="es-ES" sz="1200" dirty="0">
              <a:solidFill>
                <a:schemeClr val="tx1">
                  <a:lumMod val="65000"/>
                  <a:lumOff val="35000"/>
                </a:scheme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Sistema Eléctrico de MT y AT del SEAT</a:t>
            </a:r>
            <a:r>
              <a:rPr lang="es-ES" sz="1200" b="1" dirty="0">
                <a:solidFill>
                  <a:prstClr val="black">
                    <a:lumMod val="75000"/>
                    <a:lumOff val="25000"/>
                  </a:prstClr>
                </a:solidFill>
                <a:latin typeface="Century Gothic" panose="020B0502020202020204" pitchFamily="34" charset="0"/>
              </a:rPr>
              <a:t>:</a:t>
            </a:r>
          </a:p>
          <a:p>
            <a:pPr lvl="1" fontAlgn="b">
              <a:defRPr/>
            </a:pPr>
            <a:r>
              <a:rPr lang="es-ES" sz="1200" dirty="0">
                <a:solidFill>
                  <a:prstClr val="black">
                    <a:lumMod val="75000"/>
                    <a:lumOff val="25000"/>
                  </a:prstClr>
                </a:solidFill>
                <a:latin typeface="Century Gothic" panose="020B0502020202020204" pitchFamily="34" charset="0"/>
              </a:rPr>
              <a:t>Proyecto iniciara con un estudio para evaluar con mayor precisión el estado actual del sistema, posteriormente realizar los recambios de componentes necesarios que permitan contar con un sistema confiable con mínimo riesgo de averías. Fecha termino estimada: 2028.</a:t>
            </a:r>
          </a:p>
          <a:p>
            <a:pPr lvl="1" fontAlgn="b">
              <a:defRPr/>
            </a:pPr>
            <a:endParaRPr lang="es-ES"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Renovación de la red de transporte de datos:</a:t>
            </a:r>
          </a:p>
          <a:p>
            <a:pPr lvl="1" fontAlgn="b">
              <a:defRPr/>
            </a:pPr>
            <a:r>
              <a:rPr lang="es-MX" sz="1200" dirty="0">
                <a:solidFill>
                  <a:prstClr val="black">
                    <a:lumMod val="75000"/>
                    <a:lumOff val="25000"/>
                  </a:prstClr>
                </a:solidFill>
                <a:latin typeface="Century Gothic" panose="020B0502020202020204" pitchFamily="34" charset="0"/>
              </a:rPr>
              <a:t>Esta Iniciativa tiene como alcance renovar el sistema de red actual para el transporte de datos de estaciones, talleres y edificio SEAT, esto con el objetivo de contar con un sistema de red actualizado y robusto que permita soportar mayor demanda de trafico de data. Fecha termino estimada: 2031</a:t>
            </a:r>
            <a:endParaRPr lang="es-MX" sz="1200" b="1"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Mejoramiento de iluminación en </a:t>
            </a:r>
            <a:r>
              <a:rPr lang="es-MX" sz="1200" b="1" dirty="0" err="1">
                <a:solidFill>
                  <a:prstClr val="black">
                    <a:lumMod val="75000"/>
                    <a:lumOff val="25000"/>
                  </a:prstClr>
                </a:solidFill>
                <a:latin typeface="Century Gothic" panose="020B0502020202020204" pitchFamily="34" charset="0"/>
              </a:rPr>
              <a:t>Inter-estaciones</a:t>
            </a:r>
            <a:r>
              <a:rPr lang="es-MX" sz="1200" b="1" dirty="0">
                <a:solidFill>
                  <a:prstClr val="black">
                    <a:lumMod val="75000"/>
                    <a:lumOff val="25000"/>
                  </a:prstClr>
                </a:solidFill>
                <a:latin typeface="Century Gothic" panose="020B0502020202020204" pitchFamily="34" charset="0"/>
              </a:rPr>
              <a:t> y bajo viaducto L4:</a:t>
            </a:r>
          </a:p>
          <a:p>
            <a:pPr lvl="1" fontAlgn="b">
              <a:defRPr/>
            </a:pPr>
            <a:r>
              <a:rPr lang="es-MX" sz="1200" dirty="0">
                <a:solidFill>
                  <a:prstClr val="black">
                    <a:lumMod val="75000"/>
                    <a:lumOff val="25000"/>
                  </a:prstClr>
                </a:solidFill>
                <a:latin typeface="Century Gothic" panose="020B0502020202020204" pitchFamily="34" charset="0"/>
              </a:rPr>
              <a:t>Esta iniciativa busca mayor eficiencia en los sistemas de iluminación, principalmente la iluminación de las </a:t>
            </a:r>
            <a:r>
              <a:rPr lang="es-MX" sz="1200" dirty="0" err="1">
                <a:solidFill>
                  <a:prstClr val="black">
                    <a:lumMod val="75000"/>
                    <a:lumOff val="25000"/>
                  </a:prstClr>
                </a:solidFill>
                <a:latin typeface="Century Gothic" panose="020B0502020202020204" pitchFamily="34" charset="0"/>
              </a:rPr>
              <a:t>interestaciones</a:t>
            </a:r>
            <a:r>
              <a:rPr lang="es-MX" sz="1200" dirty="0">
                <a:solidFill>
                  <a:prstClr val="black">
                    <a:lumMod val="75000"/>
                    <a:lumOff val="25000"/>
                  </a:prstClr>
                </a:solidFill>
                <a:latin typeface="Century Gothic" panose="020B0502020202020204" pitchFamily="34" charset="0"/>
              </a:rPr>
              <a:t> y bajo viaducto de L4, ya que la tecnología existente genera un consumo de energía considerable, por lo tanto, se plantea reemplazar estos sistemas con tecnología actual LED más eficiente. Fecha termino estimada: 2031.</a:t>
            </a: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Mejoramiento condiciones ambientales de salas técnicas:</a:t>
            </a:r>
          </a:p>
          <a:p>
            <a:pPr lvl="1" fontAlgn="b">
              <a:defRPr/>
            </a:pPr>
            <a:r>
              <a:rPr lang="es-MX" sz="1200" dirty="0">
                <a:solidFill>
                  <a:prstClr val="black">
                    <a:lumMod val="75000"/>
                    <a:lumOff val="25000"/>
                  </a:prstClr>
                </a:solidFill>
                <a:latin typeface="Century Gothic" panose="020B0502020202020204" pitchFamily="34" charset="0"/>
              </a:rPr>
              <a:t>Proyecto tiene como objetivo continuar con el plan de mejorar las condiciones ambientales de los recintos técnicos que lo requieran (presentan altas temperaturas por el equipamiento instalado) de acuerdo con las normativas vigentes. Fecha estimada de termino: 2029.</a:t>
            </a: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Modernización del sistema eléctrico de estaciones:</a:t>
            </a:r>
          </a:p>
          <a:p>
            <a:pPr lvl="1" fontAlgn="b">
              <a:defRPr/>
            </a:pPr>
            <a:r>
              <a:rPr lang="es-MX" sz="1200" dirty="0">
                <a:solidFill>
                  <a:prstClr val="black">
                    <a:lumMod val="75000"/>
                    <a:lumOff val="25000"/>
                  </a:prstClr>
                </a:solidFill>
                <a:latin typeface="Century Gothic" panose="020B0502020202020204" pitchFamily="34" charset="0"/>
              </a:rPr>
              <a:t>Iniciativa iniciará con un estudio que permita evaluar el estado actual del sistema, posteriormente se realizaran los recambios necesarios para contar con un sistema actualizado de acuerdo con normativa vigente y al mismo tiempo robusto que soporte la demanda actual y futura de nuevos sistemas. Fecha termino estimada: Se abordarán las estaciones progresivamente por etapas hasta el año 2034.</a:t>
            </a:r>
          </a:p>
          <a:p>
            <a:pPr lvl="1" fontAlgn="b">
              <a:defRPr/>
            </a:pPr>
            <a:endParaRPr lang="es-MX" sz="1200" dirty="0">
              <a:solidFill>
                <a:prstClr val="black">
                  <a:lumMod val="75000"/>
                  <a:lumOff val="25000"/>
                </a:prstClr>
              </a:solidFill>
              <a:latin typeface="Century Gothic" panose="020B0502020202020204" pitchFamily="34" charset="0"/>
            </a:endParaRPr>
          </a:p>
          <a:p>
            <a:pPr marL="171450" indent="-171450" fontAlgn="b">
              <a:buFont typeface="Arial" panose="020B0604020202020204" pitchFamily="34" charset="0"/>
              <a:buChar char="•"/>
              <a:defRPr/>
            </a:pPr>
            <a:r>
              <a:rPr lang="es-MX" sz="1200" b="1" dirty="0">
                <a:solidFill>
                  <a:prstClr val="black">
                    <a:lumMod val="75000"/>
                    <a:lumOff val="25000"/>
                  </a:prstClr>
                </a:solidFill>
                <a:latin typeface="Century Gothic" panose="020B0502020202020204" pitchFamily="34" charset="0"/>
              </a:rPr>
              <a:t>Implementación de sistemas de comunicación de data (SCADA) en líneas L1, L2, L4 y L4A:</a:t>
            </a:r>
          </a:p>
          <a:p>
            <a:pPr lvl="1" fontAlgn="b">
              <a:defRPr/>
            </a:pPr>
            <a:r>
              <a:rPr lang="es-MX" sz="1200" dirty="0">
                <a:solidFill>
                  <a:prstClr val="black">
                    <a:lumMod val="75000"/>
                    <a:lumOff val="25000"/>
                  </a:prstClr>
                </a:solidFill>
                <a:latin typeface="Century Gothic" panose="020B0502020202020204" pitchFamily="34" charset="0"/>
              </a:rPr>
              <a:t>Este proyecto iniciara con un estudio que permita evaluar que sistemas requieren de mayor supervisión que requieran de un sistema de control y supervisión  robusto como el SCADA y que otros sistemas pueden supervisarse con otros sistemas de menor complejidad. Fecha termino estimada: 2034</a:t>
            </a:r>
          </a:p>
          <a:p>
            <a:pPr marL="171450" indent="-171450" fontAlgn="b">
              <a:buFont typeface="Arial" panose="020B0604020202020204" pitchFamily="34" charset="0"/>
              <a:buChar char="•"/>
              <a:defRPr/>
            </a:pPr>
            <a:endParaRPr lang="es-MX" sz="1200" b="1" dirty="0">
              <a:solidFill>
                <a:prstClr val="black">
                  <a:lumMod val="75000"/>
                  <a:lumOff val="25000"/>
                </a:prstClr>
              </a:solidFill>
              <a:latin typeface="Century Gothic" panose="020B0502020202020204" pitchFamily="34" charset="0"/>
            </a:endParaRPr>
          </a:p>
        </p:txBody>
      </p:sp>
    </p:spTree>
    <p:extLst>
      <p:ext uri="{BB962C8B-B14F-4D97-AF65-F5344CB8AC3E}">
        <p14:creationId xmlns:p14="http://schemas.microsoft.com/office/powerpoint/2010/main" val="189433068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878ADE7-7DFE-266B-262C-7C0810CBF935}"/>
              </a:ext>
            </a:extLst>
          </p:cNvPr>
          <p:cNvGraphicFramePr>
            <a:graphicFrameLocks noChangeAspect="1"/>
          </p:cNvGraphicFramePr>
          <p:nvPr>
            <p:custDataLst>
              <p:tags r:id="rId2"/>
            </p:custDataLst>
            <p:extLst>
              <p:ext uri="{D42A27DB-BD31-4B8C-83A1-F6EECF244321}">
                <p14:modId xmlns:p14="http://schemas.microsoft.com/office/powerpoint/2010/main" val="287340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Diapositiva de think-cell" r:id="rId4" imgW="404" imgH="405" progId="TCLayout.ActiveDocument.1">
                  <p:embed/>
                </p:oleObj>
              </mc:Choice>
              <mc:Fallback>
                <p:oleObj name="Diapositiva de think-cell" r:id="rId4" imgW="404" imgH="405" progId="TCLayout.ActiveDocument.1">
                  <p:embed/>
                  <p:pic>
                    <p:nvPicPr>
                      <p:cNvPr id="6" name="think-cell data - do not delete" hidden="1">
                        <a:extLst>
                          <a:ext uri="{FF2B5EF4-FFF2-40B4-BE49-F238E27FC236}">
                            <a16:creationId xmlns:a16="http://schemas.microsoft.com/office/drawing/2014/main" id="{A878ADE7-7DFE-266B-262C-7C0810CBF9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C350840F-D704-EBEA-C8BA-295C328AC5A4}"/>
              </a:ext>
            </a:extLst>
          </p:cNvPr>
          <p:cNvSpPr>
            <a:spLocks noGrp="1"/>
          </p:cNvSpPr>
          <p:nvPr>
            <p:ph type="ctrTitle"/>
          </p:nvPr>
        </p:nvSpPr>
        <p:spPr/>
        <p:txBody>
          <a:bodyPr vert="horz">
            <a:normAutofit fontScale="90000"/>
          </a:bodyPr>
          <a:lstStyle/>
          <a:p>
            <a:r>
              <a:rPr lang="es-ES" dirty="0"/>
              <a:t>Septiembre 2025 </a:t>
            </a:r>
            <a:br>
              <a:rPr lang="es-ES" dirty="0"/>
            </a:br>
            <a:r>
              <a:rPr lang="es-ES" dirty="0"/>
              <a:t>Metro de Santiago </a:t>
            </a:r>
            <a:br>
              <a:rPr lang="es-ES" dirty="0"/>
            </a:br>
            <a:r>
              <a:rPr lang="es-ES" dirty="0"/>
              <a:t>cumple 50 años</a:t>
            </a:r>
            <a:endParaRPr lang="es-CL" dirty="0"/>
          </a:p>
        </p:txBody>
      </p:sp>
      <p:sp>
        <p:nvSpPr>
          <p:cNvPr id="3" name="Subtítulo 2">
            <a:extLst>
              <a:ext uri="{FF2B5EF4-FFF2-40B4-BE49-F238E27FC236}">
                <a16:creationId xmlns:a16="http://schemas.microsoft.com/office/drawing/2014/main" id="{421939C0-4929-FB91-322A-DD802E5EEB12}"/>
              </a:ext>
            </a:extLst>
          </p:cNvPr>
          <p:cNvSpPr>
            <a:spLocks noGrp="1"/>
          </p:cNvSpPr>
          <p:nvPr>
            <p:ph type="subTitle" idx="1"/>
          </p:nvPr>
        </p:nvSpPr>
        <p:spPr/>
        <p:txBody>
          <a:bodyPr/>
          <a:lstStyle/>
          <a:p>
            <a:r>
              <a:rPr lang="es-CL" dirty="0"/>
              <a:t>Variables claves para la Modernización</a:t>
            </a:r>
          </a:p>
        </p:txBody>
      </p:sp>
      <p:sp>
        <p:nvSpPr>
          <p:cNvPr id="4" name="Marcador de texto 3">
            <a:extLst>
              <a:ext uri="{FF2B5EF4-FFF2-40B4-BE49-F238E27FC236}">
                <a16:creationId xmlns:a16="http://schemas.microsoft.com/office/drawing/2014/main" id="{CBB77B84-15D8-10C8-DC6E-EC84CB1CABE6}"/>
              </a:ext>
            </a:extLst>
          </p:cNvPr>
          <p:cNvSpPr>
            <a:spLocks noGrp="1"/>
          </p:cNvSpPr>
          <p:nvPr>
            <p:ph type="body" sz="quarter" idx="10"/>
          </p:nvPr>
        </p:nvSpPr>
        <p:spPr/>
        <p:txBody>
          <a:bodyPr/>
          <a:lstStyle/>
          <a:p>
            <a:pPr marL="285750" indent="-285750" algn="just">
              <a:buFont typeface="Arial" panose="020B0604020202020204" pitchFamily="34" charset="0"/>
              <a:buChar char="•"/>
            </a:pPr>
            <a:r>
              <a:rPr lang="es-CL" b="1" dirty="0"/>
              <a:t>Diferencia de estándar: </a:t>
            </a:r>
            <a:r>
              <a:rPr lang="es-ES" dirty="0"/>
              <a:t>Con la entrada en operación de las líneas automáticas se genera una brecha en los estándares de servicio</a:t>
            </a:r>
          </a:p>
          <a:p>
            <a:pPr marL="285750" indent="-285750" algn="just">
              <a:buFont typeface="Arial" panose="020B0604020202020204" pitchFamily="34" charset="0"/>
              <a:buChar char="•"/>
            </a:pPr>
            <a:r>
              <a:rPr lang="es-CL" b="1" dirty="0"/>
              <a:t>Obsolescencia: </a:t>
            </a:r>
            <a:r>
              <a:rPr lang="es-ES" dirty="0"/>
              <a:t>Existe una cantidad importante de activos que terminan su vida útil y es necesario renovar</a:t>
            </a:r>
            <a:endParaRPr lang="es-CL" b="1" dirty="0"/>
          </a:p>
          <a:p>
            <a:endParaRPr lang="es-CL" dirty="0"/>
          </a:p>
        </p:txBody>
      </p:sp>
    </p:spTree>
    <p:extLst>
      <p:ext uri="{BB962C8B-B14F-4D97-AF65-F5344CB8AC3E}">
        <p14:creationId xmlns:p14="http://schemas.microsoft.com/office/powerpoint/2010/main" val="3650972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2E0E21-D755-6DB9-DBFC-F847D8C85EBA}"/>
              </a:ext>
            </a:extLst>
          </p:cNvPr>
          <p:cNvGraphicFramePr>
            <a:graphicFrameLocks noChangeAspect="1"/>
          </p:cNvGraphicFramePr>
          <p:nvPr>
            <p:custDataLst>
              <p:tags r:id="rId2"/>
            </p:custDataLst>
            <p:extLst>
              <p:ext uri="{D42A27DB-BD31-4B8C-83A1-F6EECF244321}">
                <p14:modId xmlns:p14="http://schemas.microsoft.com/office/powerpoint/2010/main" val="2654574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Diapositiva de think-cell" r:id="rId4" imgW="404" imgH="405" progId="TCLayout.ActiveDocument.1">
                  <p:embed/>
                </p:oleObj>
              </mc:Choice>
              <mc:Fallback>
                <p:oleObj name="Diapositiva de think-cell" r:id="rId4" imgW="404" imgH="405" progId="TCLayout.ActiveDocument.1">
                  <p:embed/>
                  <p:pic>
                    <p:nvPicPr>
                      <p:cNvPr id="4" name="think-cell data - do not delete" hidden="1">
                        <a:extLst>
                          <a:ext uri="{FF2B5EF4-FFF2-40B4-BE49-F238E27FC236}">
                            <a16:creationId xmlns:a16="http://schemas.microsoft.com/office/drawing/2014/main" id="{192E0E21-D755-6DB9-DBFC-F847D8C85E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ítulo 8">
            <a:extLst>
              <a:ext uri="{FF2B5EF4-FFF2-40B4-BE49-F238E27FC236}">
                <a16:creationId xmlns:a16="http://schemas.microsoft.com/office/drawing/2014/main" id="{85F7B966-01A0-7194-982C-F6002C32E4A1}"/>
              </a:ext>
            </a:extLst>
          </p:cNvPr>
          <p:cNvSpPr>
            <a:spLocks noGrp="1"/>
          </p:cNvSpPr>
          <p:nvPr>
            <p:ph type="ctrTitle"/>
          </p:nvPr>
        </p:nvSpPr>
        <p:spPr>
          <a:xfrm>
            <a:off x="286871" y="1703294"/>
            <a:ext cx="4007223" cy="4805082"/>
          </a:xfrm>
        </p:spPr>
        <p:txBody>
          <a:bodyPr vert="horz" anchor="ctr">
            <a:normAutofit/>
          </a:bodyPr>
          <a:lstStyle/>
          <a:p>
            <a:pPr algn="ctr"/>
            <a:r>
              <a:rPr lang="es-ES" sz="3200" dirty="0"/>
              <a:t>¿Cuál es el objetivo principal de modernizar la red convencional?</a:t>
            </a:r>
            <a:endParaRPr lang="es-CL" sz="3200" dirty="0"/>
          </a:p>
        </p:txBody>
      </p:sp>
    </p:spTree>
    <p:extLst>
      <p:ext uri="{BB962C8B-B14F-4D97-AF65-F5344CB8AC3E}">
        <p14:creationId xmlns:p14="http://schemas.microsoft.com/office/powerpoint/2010/main" val="2664934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65A0F-21B2-542F-89B2-5C3D6501BFFD}"/>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4514F55-E71D-86CB-40A3-8138475C8423}"/>
              </a:ext>
            </a:extLst>
          </p:cNvPr>
          <p:cNvGraphicFramePr>
            <a:graphicFrameLocks noChangeAspect="1"/>
          </p:cNvGraphicFramePr>
          <p:nvPr>
            <p:custDataLst>
              <p:tags r:id="rId2"/>
            </p:custDataLst>
            <p:extLst>
              <p:ext uri="{D42A27DB-BD31-4B8C-83A1-F6EECF244321}">
                <p14:modId xmlns:p14="http://schemas.microsoft.com/office/powerpoint/2010/main" val="2976110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Diapositiva de think-cell" r:id="rId5" imgW="395" imgH="394" progId="TCLayout.ActiveDocument.1">
                  <p:embed/>
                </p:oleObj>
              </mc:Choice>
              <mc:Fallback>
                <p:oleObj name="Diapositiva de think-cell" r:id="rId5" imgW="395" imgH="394" progId="TCLayout.ActiveDocument.1">
                  <p:embed/>
                  <p:pic>
                    <p:nvPicPr>
                      <p:cNvPr id="8" name="think-cell data - do not delete" hidden="1">
                        <a:extLst>
                          <a:ext uri="{FF2B5EF4-FFF2-40B4-BE49-F238E27FC236}">
                            <a16:creationId xmlns:a16="http://schemas.microsoft.com/office/drawing/2014/main" id="{54514F55-E71D-86CB-40A3-8138475C842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88D6C8A6-D079-AE1A-C164-BDBD18C5F3F6}"/>
              </a:ext>
            </a:extLst>
          </p:cNvPr>
          <p:cNvSpPr>
            <a:spLocks noGrp="1"/>
          </p:cNvSpPr>
          <p:nvPr>
            <p:ph type="title"/>
          </p:nvPr>
        </p:nvSpPr>
        <p:spPr/>
        <p:txBody>
          <a:bodyPr vert="horz"/>
          <a:lstStyle/>
          <a:p>
            <a:pPr algn="ctr"/>
            <a:r>
              <a:rPr lang="es-ES" sz="2400" dirty="0"/>
              <a:t>“Un cliente, dos experiencias diferentes”</a:t>
            </a:r>
            <a:endParaRPr lang="es-CL" sz="2400" dirty="0"/>
          </a:p>
        </p:txBody>
      </p:sp>
      <p:pic>
        <p:nvPicPr>
          <p:cNvPr id="11" name="Gráfico 10" descr="Preguntas con relleno sólido">
            <a:extLst>
              <a:ext uri="{FF2B5EF4-FFF2-40B4-BE49-F238E27FC236}">
                <a16:creationId xmlns:a16="http://schemas.microsoft.com/office/drawing/2014/main" id="{C96B7EF9-5CE4-E69A-972A-598ACCBCDD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flipH="1">
            <a:off x="-215672" y="2613698"/>
            <a:ext cx="2547256" cy="2547256"/>
          </a:xfrm>
          <a:prstGeom prst="rect">
            <a:avLst/>
          </a:prstGeom>
        </p:spPr>
      </p:pic>
      <p:sp>
        <p:nvSpPr>
          <p:cNvPr id="12" name="Rectángulo 11">
            <a:extLst>
              <a:ext uri="{FF2B5EF4-FFF2-40B4-BE49-F238E27FC236}">
                <a16:creationId xmlns:a16="http://schemas.microsoft.com/office/drawing/2014/main" id="{4E32EB47-A2C7-0951-91F1-DE00BEBBDB4E}"/>
              </a:ext>
            </a:extLst>
          </p:cNvPr>
          <p:cNvSpPr/>
          <p:nvPr/>
        </p:nvSpPr>
        <p:spPr>
          <a:xfrm>
            <a:off x="1555296" y="1402251"/>
            <a:ext cx="10297886" cy="2547257"/>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8">
            <a:extLst>
              <a:ext uri="{FF2B5EF4-FFF2-40B4-BE49-F238E27FC236}">
                <a16:creationId xmlns:a16="http://schemas.microsoft.com/office/drawing/2014/main" id="{46E9A624-CB3E-320C-F833-8606D866AF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21001" r="21001"/>
          <a:stretch/>
        </p:blipFill>
        <p:spPr bwMode="auto">
          <a:xfrm>
            <a:off x="9377553" y="1559704"/>
            <a:ext cx="2341945" cy="2268000"/>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pic>
        <p:nvPicPr>
          <p:cNvPr id="14" name="Picture 14" descr="Línea 6 del Metro de Santiago estará operativa el 2 de noviembre - Radio  Agricultura">
            <a:extLst>
              <a:ext uri="{FF2B5EF4-FFF2-40B4-BE49-F238E27FC236}">
                <a16:creationId xmlns:a16="http://schemas.microsoft.com/office/drawing/2014/main" id="{864F6F5E-D9A7-5D0C-7164-3336B79FBB8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68842" y="1559704"/>
            <a:ext cx="2319668" cy="2268000"/>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pic>
        <p:nvPicPr>
          <p:cNvPr id="15" name="Picture 10" descr="Metro de Santiago insta a usuarios a cargar la tarjeta BIP con anticipación  ante la huelga legal del personal de cajas">
            <a:extLst>
              <a:ext uri="{FF2B5EF4-FFF2-40B4-BE49-F238E27FC236}">
                <a16:creationId xmlns:a16="http://schemas.microsoft.com/office/drawing/2014/main" id="{26FB15BE-1A8C-3404-9EFA-2579E163F5C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69417" y="1559704"/>
            <a:ext cx="2310381" cy="2268000"/>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pic>
        <p:nvPicPr>
          <p:cNvPr id="16" name="Picture 2" descr="Imagen UDECHILE 307">
            <a:extLst>
              <a:ext uri="{FF2B5EF4-FFF2-40B4-BE49-F238E27FC236}">
                <a16:creationId xmlns:a16="http://schemas.microsoft.com/office/drawing/2014/main" id="{3B877EFD-341A-3DCC-0D10-0000BEC96DB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72360" y="1559704"/>
            <a:ext cx="2408013" cy="2268000"/>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pic>
        <p:nvPicPr>
          <p:cNvPr id="17" name="Picture 32" descr="El nuevo metro sin conductor de Santiago de Chile - Sir Chandler">
            <a:extLst>
              <a:ext uri="{FF2B5EF4-FFF2-40B4-BE49-F238E27FC236}">
                <a16:creationId xmlns:a16="http://schemas.microsoft.com/office/drawing/2014/main" id="{02F8CC5B-C5FC-4AFA-BF2B-19F55C9F617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15316" y="1559704"/>
            <a:ext cx="2268000" cy="2268000"/>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pic>
        <p:nvPicPr>
          <p:cNvPr id="18" name="Picture 30" descr="Audio saca carcajadas entre pasajeros de Metro de Santiago — Radio Corazón">
            <a:extLst>
              <a:ext uri="{FF2B5EF4-FFF2-40B4-BE49-F238E27FC236}">
                <a16:creationId xmlns:a16="http://schemas.microsoft.com/office/drawing/2014/main" id="{F16DC138-B9B0-57C0-C002-D2908FB46EA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8350" t="25481"/>
          <a:stretch/>
        </p:blipFill>
        <p:spPr bwMode="auto">
          <a:xfrm>
            <a:off x="1715317" y="4454912"/>
            <a:ext cx="2277692" cy="2238673"/>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pic>
        <p:nvPicPr>
          <p:cNvPr id="19" name="Picture 2" descr="Metro de Santiago - Wikipedia, la enciclopedia libre">
            <a:extLst>
              <a:ext uri="{FF2B5EF4-FFF2-40B4-BE49-F238E27FC236}">
                <a16:creationId xmlns:a16="http://schemas.microsoft.com/office/drawing/2014/main" id="{CFD0352C-4211-0787-2C50-4104E40E5B09}"/>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617787" y="4399419"/>
            <a:ext cx="2340678" cy="2294166"/>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sp>
        <p:nvSpPr>
          <p:cNvPr id="20" name="Rectángulo 19">
            <a:extLst>
              <a:ext uri="{FF2B5EF4-FFF2-40B4-BE49-F238E27FC236}">
                <a16:creationId xmlns:a16="http://schemas.microsoft.com/office/drawing/2014/main" id="{5A51D102-CBFF-3489-C123-3C946397EFF4}"/>
              </a:ext>
            </a:extLst>
          </p:cNvPr>
          <p:cNvSpPr/>
          <p:nvPr/>
        </p:nvSpPr>
        <p:spPr>
          <a:xfrm>
            <a:off x="1555296" y="4244302"/>
            <a:ext cx="10297886" cy="2547257"/>
          </a:xfrm>
          <a:prstGeom prst="rect">
            <a:avLst/>
          </a:prstGeom>
          <a:no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Picture 6" descr="Red Movilidad on X: &quot;Informamos a nuestro usuarios que la red de carga  automática de tarjetas bip! registra fallas originadas en la empresa  proveedora. Recomendamos a los usuarios recargar en las cajas">
            <a:extLst>
              <a:ext uri="{FF2B5EF4-FFF2-40B4-BE49-F238E27FC236}">
                <a16:creationId xmlns:a16="http://schemas.microsoft.com/office/drawing/2014/main" id="{CE195EC6-E9CE-7F24-A821-62E88ACE018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520260" y="4425585"/>
            <a:ext cx="2330042" cy="2268000"/>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pic>
        <p:nvPicPr>
          <p:cNvPr id="22" name="Picture 12" descr="Chile.- Indra renueva el sistema de 'ticketing' del metro de Santiago de  Chile y permitirá el pago con móvil">
            <a:extLst>
              <a:ext uri="{FF2B5EF4-FFF2-40B4-BE49-F238E27FC236}">
                <a16:creationId xmlns:a16="http://schemas.microsoft.com/office/drawing/2014/main" id="{B40CA4E9-DCCB-25FB-787A-28CABF5B23F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422730" y="4425585"/>
            <a:ext cx="2382395" cy="2268000"/>
          </a:xfrm>
          <a:prstGeom prst="ellipse">
            <a:avLst/>
          </a:prstGeom>
          <a:noFill/>
          <a:ln w="38100">
            <a:solidFill>
              <a:schemeClr val="bg1"/>
            </a:solidFill>
          </a:ln>
          <a:extLst>
            <a:ext uri="{909E8E84-426E-40DD-AFC4-6F175D3DCCD1}">
              <a14:hiddenFill xmlns:a14="http://schemas.microsoft.com/office/drawing/2010/main">
                <a:solidFill>
                  <a:srgbClr val="FFFFFF"/>
                </a:solidFill>
              </a14:hiddenFill>
            </a:ext>
          </a:extLst>
        </p:spPr>
      </p:pic>
      <p:pic>
        <p:nvPicPr>
          <p:cNvPr id="23" name="Imagen 22">
            <a:extLst>
              <a:ext uri="{FF2B5EF4-FFF2-40B4-BE49-F238E27FC236}">
                <a16:creationId xmlns:a16="http://schemas.microsoft.com/office/drawing/2014/main" id="{E370FF47-D31A-7EA5-920A-18F98BD2DA49}"/>
              </a:ext>
            </a:extLst>
          </p:cNvPr>
          <p:cNvPicPr>
            <a:picLocks noChangeAspect="1"/>
          </p:cNvPicPr>
          <p:nvPr/>
        </p:nvPicPr>
        <p:blipFill>
          <a:blip r:embed="rId18"/>
          <a:stretch>
            <a:fillRect/>
          </a:stretch>
        </p:blipFill>
        <p:spPr>
          <a:xfrm>
            <a:off x="9377554" y="4425585"/>
            <a:ext cx="2243766" cy="2268000"/>
          </a:xfrm>
          <a:prstGeom prst="ellipse">
            <a:avLst/>
          </a:prstGeom>
          <a:noFill/>
          <a:ln w="38100">
            <a:solidFill>
              <a:schemeClr val="bg1"/>
            </a:solidFill>
          </a:ln>
        </p:spPr>
      </p:pic>
    </p:spTree>
    <p:extLst>
      <p:ext uri="{BB962C8B-B14F-4D97-AF65-F5344CB8AC3E}">
        <p14:creationId xmlns:p14="http://schemas.microsoft.com/office/powerpoint/2010/main" val="1253696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EA1A87-4FE6-A15E-7BF5-6486B8F586D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8192A73-A0D5-81C1-D959-8BF7AB8D0E8D}"/>
              </a:ext>
            </a:extLst>
          </p:cNvPr>
          <p:cNvGraphicFramePr>
            <a:graphicFrameLocks noChangeAspect="1"/>
          </p:cNvGraphicFramePr>
          <p:nvPr>
            <p:custDataLst>
              <p:tags r:id="rId2"/>
            </p:custDataLst>
            <p:extLst>
              <p:ext uri="{D42A27DB-BD31-4B8C-83A1-F6EECF244321}">
                <p14:modId xmlns:p14="http://schemas.microsoft.com/office/powerpoint/2010/main" val="111450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Diapositiva de think-cell" r:id="rId4" imgW="404" imgH="405" progId="TCLayout.ActiveDocument.1">
                  <p:embed/>
                </p:oleObj>
              </mc:Choice>
              <mc:Fallback>
                <p:oleObj name="Diapositiva de think-cell" r:id="rId4" imgW="404" imgH="405" progId="TCLayout.ActiveDocument.1">
                  <p:embed/>
                  <p:pic>
                    <p:nvPicPr>
                      <p:cNvPr id="4" name="think-cell data - do not delete" hidden="1">
                        <a:extLst>
                          <a:ext uri="{FF2B5EF4-FFF2-40B4-BE49-F238E27FC236}">
                            <a16:creationId xmlns:a16="http://schemas.microsoft.com/office/drawing/2014/main" id="{48192A73-A0D5-81C1-D959-8BF7AB8D0E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ítulo 8">
            <a:extLst>
              <a:ext uri="{FF2B5EF4-FFF2-40B4-BE49-F238E27FC236}">
                <a16:creationId xmlns:a16="http://schemas.microsoft.com/office/drawing/2014/main" id="{DFE3ED91-CA5C-C0E9-7F28-09B09428983F}"/>
              </a:ext>
            </a:extLst>
          </p:cNvPr>
          <p:cNvSpPr>
            <a:spLocks noGrp="1"/>
          </p:cNvSpPr>
          <p:nvPr>
            <p:ph type="ctrTitle"/>
          </p:nvPr>
        </p:nvSpPr>
        <p:spPr>
          <a:xfrm>
            <a:off x="286871" y="1703294"/>
            <a:ext cx="4007223" cy="4805082"/>
          </a:xfrm>
        </p:spPr>
        <p:txBody>
          <a:bodyPr vert="horz" anchor="ctr">
            <a:normAutofit/>
          </a:bodyPr>
          <a:lstStyle/>
          <a:p>
            <a:pPr algn="ctr"/>
            <a:r>
              <a:rPr lang="es-ES" sz="3200" dirty="0"/>
              <a:t>¿Quiénes participaron del proceso?</a:t>
            </a:r>
          </a:p>
        </p:txBody>
      </p:sp>
    </p:spTree>
    <p:extLst>
      <p:ext uri="{BB962C8B-B14F-4D97-AF65-F5344CB8AC3E}">
        <p14:creationId xmlns:p14="http://schemas.microsoft.com/office/powerpoint/2010/main" val="743992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0DE9C5-D599-ED1E-E56B-56A69468E304}"/>
              </a:ext>
            </a:extLst>
          </p:cNvPr>
          <p:cNvGraphicFramePr>
            <a:graphicFrameLocks noChangeAspect="1"/>
          </p:cNvGraphicFramePr>
          <p:nvPr>
            <p:custDataLst>
              <p:tags r:id="rId2"/>
            </p:custDataLst>
            <p:extLst>
              <p:ext uri="{D42A27DB-BD31-4B8C-83A1-F6EECF244321}">
                <p14:modId xmlns:p14="http://schemas.microsoft.com/office/powerpoint/2010/main" val="2821315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Diapositiva de think-cell" r:id="rId5" imgW="395" imgH="394" progId="TCLayout.ActiveDocument.1">
                  <p:embed/>
                </p:oleObj>
              </mc:Choice>
              <mc:Fallback>
                <p:oleObj name="Diapositiva de think-cell" r:id="rId5" imgW="395" imgH="394" progId="TCLayout.ActiveDocument.1">
                  <p:embed/>
                  <p:pic>
                    <p:nvPicPr>
                      <p:cNvPr id="8" name="think-cell data - do not delete" hidden="1">
                        <a:extLst>
                          <a:ext uri="{FF2B5EF4-FFF2-40B4-BE49-F238E27FC236}">
                            <a16:creationId xmlns:a16="http://schemas.microsoft.com/office/drawing/2014/main" id="{070DE9C5-D599-ED1E-E56B-56A69468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32" name="Picture 8">
            <a:extLst>
              <a:ext uri="{FF2B5EF4-FFF2-40B4-BE49-F238E27FC236}">
                <a16:creationId xmlns:a16="http://schemas.microsoft.com/office/drawing/2014/main" id="{4484D4B8-89D5-0FC3-1D45-FDD80C40319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72134" y="3896020"/>
            <a:ext cx="3090109" cy="2102667"/>
          </a:xfrm>
          <a:prstGeom prst="rect">
            <a:avLst/>
          </a:prstGeom>
          <a:noFill/>
          <a:extLst>
            <a:ext uri="{909E8E84-426E-40DD-AFC4-6F175D3DCCD1}">
              <a14:hiddenFill xmlns:a14="http://schemas.microsoft.com/office/drawing/2010/main">
                <a:solidFill>
                  <a:srgbClr val="FFFFFF"/>
                </a:solidFill>
              </a14:hiddenFill>
            </a:ext>
          </a:extLst>
        </p:spPr>
      </p:pic>
      <p:sp>
        <p:nvSpPr>
          <p:cNvPr id="6" name="Rectángulo: esquinas redondeadas 5">
            <a:extLst>
              <a:ext uri="{FF2B5EF4-FFF2-40B4-BE49-F238E27FC236}">
                <a16:creationId xmlns:a16="http://schemas.microsoft.com/office/drawing/2014/main" id="{E691AD0C-5607-26AD-C116-AC94D1E5DE2A}"/>
              </a:ext>
            </a:extLst>
          </p:cNvPr>
          <p:cNvSpPr/>
          <p:nvPr/>
        </p:nvSpPr>
        <p:spPr>
          <a:xfrm>
            <a:off x="703150" y="1687607"/>
            <a:ext cx="3818323" cy="1601048"/>
          </a:xfrm>
          <a:prstGeom prst="roundRect">
            <a:avLst/>
          </a:prstGeom>
          <a:solidFill>
            <a:srgbClr val="1E1D26"/>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4000" b="1" i="0" u="none" strike="noStrike" kern="1200" cap="none" spc="0" normalizeH="0" baseline="0" noProof="0">
                <a:ln>
                  <a:noFill/>
                </a:ln>
                <a:solidFill>
                  <a:prstClr val="white"/>
                </a:solidFill>
                <a:effectLst/>
                <a:uLnTx/>
                <a:uFillTx/>
                <a:latin typeface="Montserrat" panose="00000500000000000000" pitchFamily="2" charset="0"/>
              </a:rPr>
              <a:t>+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2400" b="1" i="0" u="none" strike="noStrike" kern="1200" cap="none" spc="0" normalizeH="0" baseline="0" noProof="0">
                <a:ln>
                  <a:noFill/>
                </a:ln>
                <a:solidFill>
                  <a:prstClr val="white"/>
                </a:solidFill>
                <a:effectLst/>
                <a:uLnTx/>
                <a:uFillTx/>
                <a:latin typeface="Montserrat" panose="00000500000000000000" pitchFamily="2" charset="0"/>
              </a:rPr>
              <a:t>Participantes</a:t>
            </a:r>
            <a:endParaRPr kumimoji="0" lang="es-CL" sz="24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7" name="Rectángulo: esquinas redondeadas 6">
            <a:extLst>
              <a:ext uri="{FF2B5EF4-FFF2-40B4-BE49-F238E27FC236}">
                <a16:creationId xmlns:a16="http://schemas.microsoft.com/office/drawing/2014/main" id="{0D28349F-2AF6-BF75-1128-174A8062976D}"/>
              </a:ext>
            </a:extLst>
          </p:cNvPr>
          <p:cNvSpPr/>
          <p:nvPr/>
        </p:nvSpPr>
        <p:spPr>
          <a:xfrm>
            <a:off x="703151" y="3480548"/>
            <a:ext cx="3818323" cy="2474891"/>
          </a:xfrm>
          <a:prstGeom prst="round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Se realizaron </a:t>
            </a:r>
            <a:r>
              <a:rPr kumimoji="0" lang="es-CL" sz="2400"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43</a:t>
            </a:r>
            <a:r>
              <a:rPr kumimoji="0" lang="es-CL"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 talleres 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CL"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s-CL"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Estacion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s-CL"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Talleres (diurno y nocturno)</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s-CL" b="1"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rPr>
              <a:t>Edificio corporativo</a:t>
            </a:r>
            <a:endParaRPr kumimoji="0" lang="es-CL" b="0" i="0" u="none" strike="noStrike" kern="1200" cap="none" spc="0" normalizeH="0" baseline="0" noProof="0" dirty="0">
              <a:ln>
                <a:noFill/>
              </a:ln>
              <a:solidFill>
                <a:prstClr val="black">
                  <a:lumMod val="75000"/>
                  <a:lumOff val="25000"/>
                </a:prstClr>
              </a:solidFill>
              <a:effectLst/>
              <a:uLnTx/>
              <a:uFillTx/>
              <a:latin typeface="Montserrat" panose="00000500000000000000" pitchFamily="2" charset="0"/>
            </a:endParaRPr>
          </a:p>
        </p:txBody>
      </p:sp>
      <p:sp>
        <p:nvSpPr>
          <p:cNvPr id="9" name="Rectángulo: esquinas redondeadas 8">
            <a:extLst>
              <a:ext uri="{FF2B5EF4-FFF2-40B4-BE49-F238E27FC236}">
                <a16:creationId xmlns:a16="http://schemas.microsoft.com/office/drawing/2014/main" id="{A3A32719-5B5B-75D8-6864-0E39A2560E49}"/>
              </a:ext>
            </a:extLst>
          </p:cNvPr>
          <p:cNvSpPr/>
          <p:nvPr/>
        </p:nvSpPr>
        <p:spPr>
          <a:xfrm>
            <a:off x="514537" y="1263930"/>
            <a:ext cx="4245635" cy="5190658"/>
          </a:xfrm>
          <a:prstGeom prst="roundRect">
            <a:avLst>
              <a:gd name="adj" fmla="val 0"/>
            </a:avLst>
          </a:prstGeom>
          <a:noFill/>
          <a:ln>
            <a:solidFill>
              <a:srgbClr val="BFBFB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400">
              <a:latin typeface="Montserrat" panose="00000500000000000000" pitchFamily="2" charset="0"/>
            </a:endParaRPr>
          </a:p>
        </p:txBody>
      </p:sp>
      <p:sp>
        <p:nvSpPr>
          <p:cNvPr id="29" name="Rectángulo: esquinas redondeadas 28">
            <a:extLst>
              <a:ext uri="{FF2B5EF4-FFF2-40B4-BE49-F238E27FC236}">
                <a16:creationId xmlns:a16="http://schemas.microsoft.com/office/drawing/2014/main" id="{3378996D-724D-BDD0-5FF8-288EC4320A0F}"/>
              </a:ext>
            </a:extLst>
          </p:cNvPr>
          <p:cNvSpPr/>
          <p:nvPr/>
        </p:nvSpPr>
        <p:spPr>
          <a:xfrm>
            <a:off x="514537" y="756862"/>
            <a:ext cx="11297359" cy="394826"/>
          </a:xfrm>
          <a:prstGeom prst="roundRect">
            <a:avLst/>
          </a:prstGeom>
          <a:solidFill>
            <a:srgbClr val="1E1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600" i="0" u="none" strike="noStrike" kern="1200" cap="none" spc="0" normalizeH="0" baseline="0" noProof="0" dirty="0">
              <a:ln>
                <a:noFill/>
              </a:ln>
              <a:solidFill>
                <a:prstClr val="white"/>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i="0" u="none" strike="noStrike" kern="1200" cap="none" spc="0" normalizeH="0" baseline="0" noProof="0" dirty="0">
                <a:ln>
                  <a:noFill/>
                </a:ln>
                <a:solidFill>
                  <a:prstClr val="white"/>
                </a:solidFill>
                <a:effectLst/>
                <a:uLnTx/>
                <a:uFillTx/>
                <a:latin typeface="Montserrat" panose="00000500000000000000" pitchFamily="2" charset="0"/>
              </a:rPr>
              <a:t>Definición</a:t>
            </a:r>
            <a:r>
              <a:rPr kumimoji="0" lang="es-CL" sz="2000" i="0" u="none" strike="noStrike" kern="1200" cap="none" spc="0" normalizeH="0" baseline="0" noProof="0" dirty="0">
                <a:ln>
                  <a:noFill/>
                </a:ln>
                <a:solidFill>
                  <a:prstClr val="white"/>
                </a:solidFill>
                <a:effectLst/>
                <a:uLnTx/>
                <a:uFillTx/>
                <a:latin typeface="Montserrat" panose="00000500000000000000" pitchFamily="2" charset="0"/>
              </a:rPr>
              <a:t> de nuevas iniciativa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600" i="0" u="none" strike="noStrike" kern="1200" cap="none" spc="0" normalizeH="0" baseline="0" noProof="0" dirty="0">
              <a:ln>
                <a:noFill/>
              </a:ln>
              <a:solidFill>
                <a:prstClr val="white"/>
              </a:solidFill>
              <a:effectLst/>
              <a:uLnTx/>
              <a:uFillTx/>
              <a:latin typeface="Montserrat" panose="00000500000000000000" pitchFamily="2" charset="0"/>
            </a:endParaRPr>
          </a:p>
        </p:txBody>
      </p:sp>
      <p:pic>
        <p:nvPicPr>
          <p:cNvPr id="1026" name="Picture 2">
            <a:extLst>
              <a:ext uri="{FF2B5EF4-FFF2-40B4-BE49-F238E27FC236}">
                <a16:creationId xmlns:a16="http://schemas.microsoft.com/office/drawing/2014/main" id="{A5DB7683-E301-4EDD-C011-C360C8447C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72134" y="1687608"/>
            <a:ext cx="3090109" cy="2102668"/>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n 3" descr="Un grupo de personas en un salón&#10;&#10;Descripción generada automáticamente">
            <a:extLst>
              <a:ext uri="{FF2B5EF4-FFF2-40B4-BE49-F238E27FC236}">
                <a16:creationId xmlns:a16="http://schemas.microsoft.com/office/drawing/2014/main" id="{71E6B864-2D5C-B1D9-A3AB-884E3D6534D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15565" y="1681109"/>
            <a:ext cx="2873284" cy="2102668"/>
          </a:xfrm>
          <a:prstGeom prst="rect">
            <a:avLst/>
          </a:prstGeom>
        </p:spPr>
      </p:pic>
      <p:pic>
        <p:nvPicPr>
          <p:cNvPr id="1030" name="Picture 6">
            <a:extLst>
              <a:ext uri="{FF2B5EF4-FFF2-40B4-BE49-F238E27FC236}">
                <a16:creationId xmlns:a16="http://schemas.microsoft.com/office/drawing/2014/main" id="{A1D2AEF5-52EF-8E7D-9E22-08E97A7ADBE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15565" y="3896019"/>
            <a:ext cx="2873284" cy="2102668"/>
          </a:xfrm>
          <a:prstGeom prst="rect">
            <a:avLst/>
          </a:prstGeom>
          <a:noFill/>
          <a:extLst>
            <a:ext uri="{909E8E84-426E-40DD-AFC4-6F175D3DCCD1}">
              <a14:hiddenFill xmlns:a14="http://schemas.microsoft.com/office/drawing/2010/main">
                <a:solidFill>
                  <a:srgbClr val="FFFFFF"/>
                </a:solidFill>
              </a14:hiddenFill>
            </a:ext>
          </a:extLst>
        </p:spPr>
      </p:pic>
      <p:sp>
        <p:nvSpPr>
          <p:cNvPr id="5" name="Rectángulo: esquinas redondeadas 4">
            <a:extLst>
              <a:ext uri="{FF2B5EF4-FFF2-40B4-BE49-F238E27FC236}">
                <a16:creationId xmlns:a16="http://schemas.microsoft.com/office/drawing/2014/main" id="{C5ADAF97-E895-3BE6-89C6-E568C3589501}"/>
              </a:ext>
            </a:extLst>
          </p:cNvPr>
          <p:cNvSpPr/>
          <p:nvPr/>
        </p:nvSpPr>
        <p:spPr>
          <a:xfrm>
            <a:off x="5013493" y="1263930"/>
            <a:ext cx="6798403" cy="5190658"/>
          </a:xfrm>
          <a:prstGeom prst="roundRect">
            <a:avLst>
              <a:gd name="adj" fmla="val 0"/>
            </a:avLst>
          </a:prstGeom>
          <a:noFill/>
          <a:ln>
            <a:solidFill>
              <a:srgbClr val="BFBFB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400">
              <a:latin typeface="Montserrat" panose="00000500000000000000" pitchFamily="2" charset="0"/>
            </a:endParaRPr>
          </a:p>
        </p:txBody>
      </p:sp>
      <p:sp>
        <p:nvSpPr>
          <p:cNvPr id="2" name="Título 1">
            <a:extLst>
              <a:ext uri="{FF2B5EF4-FFF2-40B4-BE49-F238E27FC236}">
                <a16:creationId xmlns:a16="http://schemas.microsoft.com/office/drawing/2014/main" id="{3B9635A9-7683-86FC-DFAA-210F68F48E7D}"/>
              </a:ext>
            </a:extLst>
          </p:cNvPr>
          <p:cNvSpPr>
            <a:spLocks noGrp="1"/>
          </p:cNvSpPr>
          <p:nvPr>
            <p:ph type="title"/>
          </p:nvPr>
        </p:nvSpPr>
        <p:spPr/>
        <p:txBody>
          <a:bodyPr vert="horz"/>
          <a:lstStyle/>
          <a:p>
            <a:r>
              <a:rPr lang="es-ES" dirty="0"/>
              <a:t>Escuchamos a las y los trabajadores</a:t>
            </a:r>
            <a:endParaRPr lang="es-CL" dirty="0"/>
          </a:p>
        </p:txBody>
      </p:sp>
    </p:spTree>
    <p:extLst>
      <p:ext uri="{BB962C8B-B14F-4D97-AF65-F5344CB8AC3E}">
        <p14:creationId xmlns:p14="http://schemas.microsoft.com/office/powerpoint/2010/main" val="1425082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97A396-A3B6-110A-0A7B-F7A6F318D512}"/>
              </a:ext>
            </a:extLst>
          </p:cNvPr>
          <p:cNvGraphicFramePr>
            <a:graphicFrameLocks noChangeAspect="1"/>
          </p:cNvGraphicFramePr>
          <p:nvPr>
            <p:custDataLst>
              <p:tags r:id="rId2"/>
            </p:custDataLst>
            <p:extLst>
              <p:ext uri="{D42A27DB-BD31-4B8C-83A1-F6EECF244321}">
                <p14:modId xmlns:p14="http://schemas.microsoft.com/office/powerpoint/2010/main" val="304006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Diapositiva de think-cell" r:id="rId5" imgW="395" imgH="394" progId="TCLayout.ActiveDocument.1">
                  <p:embed/>
                </p:oleObj>
              </mc:Choice>
              <mc:Fallback>
                <p:oleObj name="Diapositiva de think-cell" r:id="rId5" imgW="395" imgH="394" progId="TCLayout.ActiveDocument.1">
                  <p:embed/>
                  <p:pic>
                    <p:nvPicPr>
                      <p:cNvPr id="5" name="think-cell data - do not delete" hidden="1">
                        <a:extLst>
                          <a:ext uri="{FF2B5EF4-FFF2-40B4-BE49-F238E27FC236}">
                            <a16:creationId xmlns:a16="http://schemas.microsoft.com/office/drawing/2014/main" id="{8697A396-A3B6-110A-0A7B-F7A6F318D5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CuadroTexto 5">
            <a:extLst>
              <a:ext uri="{FF2B5EF4-FFF2-40B4-BE49-F238E27FC236}">
                <a16:creationId xmlns:a16="http://schemas.microsoft.com/office/drawing/2014/main" id="{321F5AD8-A301-0A91-E26D-B89FB8795643}"/>
              </a:ext>
            </a:extLst>
          </p:cNvPr>
          <p:cNvSpPr txBox="1"/>
          <p:nvPr/>
        </p:nvSpPr>
        <p:spPr>
          <a:xfrm>
            <a:off x="2092742" y="743852"/>
            <a:ext cx="800651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Diseñar mirando hacia el futuro, explorando tendencias”</a:t>
            </a:r>
          </a:p>
        </p:txBody>
      </p:sp>
      <p:grpSp>
        <p:nvGrpSpPr>
          <p:cNvPr id="33" name="Grupo 32">
            <a:extLst>
              <a:ext uri="{FF2B5EF4-FFF2-40B4-BE49-F238E27FC236}">
                <a16:creationId xmlns:a16="http://schemas.microsoft.com/office/drawing/2014/main" id="{F9B79BDC-D4DA-534B-EBD9-AA489C2DF545}"/>
              </a:ext>
            </a:extLst>
          </p:cNvPr>
          <p:cNvGrpSpPr/>
          <p:nvPr/>
        </p:nvGrpSpPr>
        <p:grpSpPr>
          <a:xfrm>
            <a:off x="273091" y="1397697"/>
            <a:ext cx="3470569" cy="2377598"/>
            <a:chOff x="273092" y="1717535"/>
            <a:chExt cx="3350148" cy="4645002"/>
          </a:xfrm>
        </p:grpSpPr>
        <p:sp>
          <p:nvSpPr>
            <p:cNvPr id="8" name="Rectángulo 7">
              <a:extLst>
                <a:ext uri="{FF2B5EF4-FFF2-40B4-BE49-F238E27FC236}">
                  <a16:creationId xmlns:a16="http://schemas.microsoft.com/office/drawing/2014/main" id="{73B2A44A-2C4C-74D9-778C-2D2313E77D43}"/>
                </a:ext>
              </a:extLst>
            </p:cNvPr>
            <p:cNvSpPr/>
            <p:nvPr/>
          </p:nvSpPr>
          <p:spPr>
            <a:xfrm>
              <a:off x="273092" y="1717535"/>
              <a:ext cx="3350148" cy="919995"/>
            </a:xfrm>
            <a:prstGeom prst="rect">
              <a:avLst/>
            </a:prstGeom>
            <a:solidFill>
              <a:srgbClr val="1E1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white"/>
                  </a:solidFill>
                  <a:effectLst/>
                  <a:uLnTx/>
                  <a:uFillTx/>
                  <a:latin typeface="Montserrat" panose="00000500000000000000" pitchFamily="2" charset="0"/>
                </a:rPr>
                <a:t>Espacios de expresión y participació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p:txBody>
        </p:sp>
        <p:sp>
          <p:nvSpPr>
            <p:cNvPr id="13" name="Rectángulo 12">
              <a:extLst>
                <a:ext uri="{FF2B5EF4-FFF2-40B4-BE49-F238E27FC236}">
                  <a16:creationId xmlns:a16="http://schemas.microsoft.com/office/drawing/2014/main" id="{9EEDA562-F73A-D3C0-B268-E071AE3FF6BD}"/>
                </a:ext>
              </a:extLst>
            </p:cNvPr>
            <p:cNvSpPr/>
            <p:nvPr/>
          </p:nvSpPr>
          <p:spPr>
            <a:xfrm>
              <a:off x="273092" y="2727768"/>
              <a:ext cx="3350148" cy="3634769"/>
            </a:xfrm>
            <a:prstGeom prst="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20" name="CuadroTexto 19">
              <a:extLst>
                <a:ext uri="{FF2B5EF4-FFF2-40B4-BE49-F238E27FC236}">
                  <a16:creationId xmlns:a16="http://schemas.microsoft.com/office/drawing/2014/main" id="{3BADAB02-6AF2-E2F4-45D1-2A7DE44436A0}"/>
                </a:ext>
              </a:extLst>
            </p:cNvPr>
            <p:cNvSpPr txBox="1"/>
            <p:nvPr/>
          </p:nvSpPr>
          <p:spPr>
            <a:xfrm>
              <a:off x="415593" y="5432561"/>
              <a:ext cx="3078077" cy="849849"/>
            </a:xfrm>
            <a:prstGeom prst="rect">
              <a:avLst/>
            </a:prstGeom>
            <a:solidFill>
              <a:schemeClr val="bg1">
                <a:lumMod val="95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100" b="1" i="1"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Estaciones de metro como espacios sociales y de encuentro</a:t>
              </a:r>
            </a:p>
          </p:txBody>
        </p:sp>
        <p:pic>
          <p:nvPicPr>
            <p:cNvPr id="23" name="Picture 2" descr="Fulton Transit Center">
              <a:extLst>
                <a:ext uri="{FF2B5EF4-FFF2-40B4-BE49-F238E27FC236}">
                  <a16:creationId xmlns:a16="http://schemas.microsoft.com/office/drawing/2014/main" id="{FCFFA8DE-7AA2-2AB8-DB0D-EE82CCC3E5F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3391" r="17660"/>
            <a:stretch/>
          </p:blipFill>
          <p:spPr bwMode="auto">
            <a:xfrm>
              <a:off x="389102" y="2822316"/>
              <a:ext cx="3078077" cy="26102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4" name="Grupo 43">
            <a:extLst>
              <a:ext uri="{FF2B5EF4-FFF2-40B4-BE49-F238E27FC236}">
                <a16:creationId xmlns:a16="http://schemas.microsoft.com/office/drawing/2014/main" id="{0819B55D-D521-995B-D5B0-C8F2A145FFE6}"/>
              </a:ext>
            </a:extLst>
          </p:cNvPr>
          <p:cNvGrpSpPr/>
          <p:nvPr/>
        </p:nvGrpSpPr>
        <p:grpSpPr>
          <a:xfrm>
            <a:off x="8018599" y="1397697"/>
            <a:ext cx="3470569" cy="2377598"/>
            <a:chOff x="8122116" y="1717535"/>
            <a:chExt cx="3367052" cy="4645002"/>
          </a:xfrm>
        </p:grpSpPr>
        <p:sp>
          <p:nvSpPr>
            <p:cNvPr id="10" name="Rectángulo 9">
              <a:extLst>
                <a:ext uri="{FF2B5EF4-FFF2-40B4-BE49-F238E27FC236}">
                  <a16:creationId xmlns:a16="http://schemas.microsoft.com/office/drawing/2014/main" id="{19C36EE0-8503-46CC-F1F8-C4213D628E56}"/>
                </a:ext>
              </a:extLst>
            </p:cNvPr>
            <p:cNvSpPr/>
            <p:nvPr/>
          </p:nvSpPr>
          <p:spPr>
            <a:xfrm>
              <a:off x="8122116" y="1717535"/>
              <a:ext cx="3350148" cy="919995"/>
            </a:xfrm>
            <a:prstGeom prst="rect">
              <a:avLst/>
            </a:prstGeom>
            <a:solidFill>
              <a:srgbClr val="1E1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100" b="1" i="0" u="none" strike="noStrike" kern="1200" cap="none" spc="0" normalizeH="0" baseline="0" noProof="0" dirty="0">
                  <a:ln>
                    <a:noFill/>
                  </a:ln>
                  <a:solidFill>
                    <a:prstClr val="white"/>
                  </a:solidFill>
                  <a:effectLst/>
                  <a:uLnTx/>
                  <a:uFillTx/>
                  <a:latin typeface="Montserrat" panose="00000500000000000000" pitchFamily="2" charset="0"/>
                </a:rPr>
                <a:t> </a:t>
              </a:r>
              <a:r>
                <a:rPr kumimoji="0" lang="es-CL" sz="1200" b="1" i="0" u="none" strike="noStrike" kern="1200" cap="none" spc="0" normalizeH="0" baseline="0" noProof="0" dirty="0">
                  <a:ln>
                    <a:noFill/>
                  </a:ln>
                  <a:solidFill>
                    <a:prstClr val="white"/>
                  </a:solidFill>
                  <a:effectLst/>
                  <a:uLnTx/>
                  <a:uFillTx/>
                  <a:latin typeface="Montserrat" panose="00000500000000000000" pitchFamily="2" charset="0"/>
                </a:rPr>
                <a:t>Espacios accesibles como obligació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p:txBody>
        </p:sp>
        <p:sp>
          <p:nvSpPr>
            <p:cNvPr id="15" name="Rectángulo 14">
              <a:extLst>
                <a:ext uri="{FF2B5EF4-FFF2-40B4-BE49-F238E27FC236}">
                  <a16:creationId xmlns:a16="http://schemas.microsoft.com/office/drawing/2014/main" id="{B8DA0CA3-7EAB-A967-D095-0C6D1AE4CEB5}"/>
                </a:ext>
              </a:extLst>
            </p:cNvPr>
            <p:cNvSpPr/>
            <p:nvPr/>
          </p:nvSpPr>
          <p:spPr>
            <a:xfrm>
              <a:off x="8139020" y="2727768"/>
              <a:ext cx="3350148" cy="3634769"/>
            </a:xfrm>
            <a:prstGeom prst="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0" i="0" u="none" strike="noStrike" kern="1200" cap="none" spc="0" normalizeH="0" baseline="0" noProof="0">
                <a:ln>
                  <a:noFill/>
                </a:ln>
                <a:solidFill>
                  <a:prstClr val="white"/>
                </a:solidFill>
                <a:effectLst/>
                <a:uLnTx/>
                <a:uFillTx/>
                <a:latin typeface="Montserrat" panose="00000500000000000000" pitchFamily="2" charset="0"/>
              </a:endParaRPr>
            </a:p>
          </p:txBody>
        </p:sp>
        <p:pic>
          <p:nvPicPr>
            <p:cNvPr id="37" name="Picture 6">
              <a:extLst>
                <a:ext uri="{FF2B5EF4-FFF2-40B4-BE49-F238E27FC236}">
                  <a16:creationId xmlns:a16="http://schemas.microsoft.com/office/drawing/2014/main" id="{3C9F0B00-FF82-DA7B-0F56-52181C41A2F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405" r="15252"/>
            <a:stretch/>
          </p:blipFill>
          <p:spPr bwMode="auto">
            <a:xfrm>
              <a:off x="8317246" y="2822687"/>
              <a:ext cx="3013574" cy="2621152"/>
            </a:xfrm>
            <a:prstGeom prst="rect">
              <a:avLst/>
            </a:prstGeom>
            <a:noFill/>
            <a:extLst>
              <a:ext uri="{909E8E84-426E-40DD-AFC4-6F175D3DCCD1}">
                <a14:hiddenFill xmlns:a14="http://schemas.microsoft.com/office/drawing/2010/main">
                  <a:solidFill>
                    <a:srgbClr val="FFFFFF"/>
                  </a:solidFill>
                </a14:hiddenFill>
              </a:ext>
            </a:extLst>
          </p:spPr>
        </p:pic>
        <p:sp>
          <p:nvSpPr>
            <p:cNvPr id="38" name="CuadroTexto 37">
              <a:extLst>
                <a:ext uri="{FF2B5EF4-FFF2-40B4-BE49-F238E27FC236}">
                  <a16:creationId xmlns:a16="http://schemas.microsoft.com/office/drawing/2014/main" id="{9D5B00AF-E46A-5463-BB47-6E27B73D11C3}"/>
                </a:ext>
              </a:extLst>
            </p:cNvPr>
            <p:cNvSpPr txBox="1"/>
            <p:nvPr/>
          </p:nvSpPr>
          <p:spPr>
            <a:xfrm>
              <a:off x="8227596" y="5432561"/>
              <a:ext cx="3139187" cy="849849"/>
            </a:xfrm>
            <a:prstGeom prst="rect">
              <a:avLst/>
            </a:prstGeom>
            <a:solidFill>
              <a:schemeClr val="bg1">
                <a:lumMod val="95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100" b="1" i="1"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La accesibilidad es un elemento crucial en el diseño</a:t>
              </a:r>
            </a:p>
          </p:txBody>
        </p:sp>
      </p:grpSp>
      <p:grpSp>
        <p:nvGrpSpPr>
          <p:cNvPr id="49" name="Grupo 48">
            <a:extLst>
              <a:ext uri="{FF2B5EF4-FFF2-40B4-BE49-F238E27FC236}">
                <a16:creationId xmlns:a16="http://schemas.microsoft.com/office/drawing/2014/main" id="{1D22B7A5-A246-407E-1A6B-030A68A6A56B}"/>
              </a:ext>
            </a:extLst>
          </p:cNvPr>
          <p:cNvGrpSpPr/>
          <p:nvPr/>
        </p:nvGrpSpPr>
        <p:grpSpPr>
          <a:xfrm>
            <a:off x="4145845" y="1397697"/>
            <a:ext cx="3470568" cy="2377598"/>
            <a:chOff x="4145845" y="1397697"/>
            <a:chExt cx="3470568" cy="4964842"/>
          </a:xfrm>
        </p:grpSpPr>
        <p:grpSp>
          <p:nvGrpSpPr>
            <p:cNvPr id="43" name="Grupo 42">
              <a:extLst>
                <a:ext uri="{FF2B5EF4-FFF2-40B4-BE49-F238E27FC236}">
                  <a16:creationId xmlns:a16="http://schemas.microsoft.com/office/drawing/2014/main" id="{ECFBFBDC-09AA-D5E3-4A19-BF29942C9215}"/>
                </a:ext>
              </a:extLst>
            </p:cNvPr>
            <p:cNvGrpSpPr/>
            <p:nvPr/>
          </p:nvGrpSpPr>
          <p:grpSpPr>
            <a:xfrm>
              <a:off x="4145845" y="1397697"/>
              <a:ext cx="3470568" cy="4964842"/>
              <a:chOff x="4197604" y="1717535"/>
              <a:chExt cx="3350148" cy="4645002"/>
            </a:xfrm>
          </p:grpSpPr>
          <p:sp>
            <p:nvSpPr>
              <p:cNvPr id="9" name="Rectángulo 8">
                <a:extLst>
                  <a:ext uri="{FF2B5EF4-FFF2-40B4-BE49-F238E27FC236}">
                    <a16:creationId xmlns:a16="http://schemas.microsoft.com/office/drawing/2014/main" id="{00D3D821-3C98-FD7E-9AFF-D80F29103FDD}"/>
                  </a:ext>
                </a:extLst>
              </p:cNvPr>
              <p:cNvSpPr/>
              <p:nvPr/>
            </p:nvSpPr>
            <p:spPr>
              <a:xfrm>
                <a:off x="4197604" y="1717535"/>
                <a:ext cx="3350148" cy="919995"/>
              </a:xfrm>
              <a:prstGeom prst="rect">
                <a:avLst/>
              </a:prstGeom>
              <a:solidFill>
                <a:srgbClr val="1E1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a:ln>
                    <a:noFill/>
                  </a:ln>
                  <a:solidFill>
                    <a:prstClr val="white"/>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a:ln>
                      <a:noFill/>
                    </a:ln>
                    <a:solidFill>
                      <a:prstClr val="white"/>
                    </a:solidFill>
                    <a:effectLst/>
                    <a:uLnTx/>
                    <a:uFillTx/>
                    <a:latin typeface="Montserrat" panose="00000500000000000000" pitchFamily="2" charset="0"/>
                  </a:rPr>
                  <a:t>Espacios seguros y confortabl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4" name="Rectángulo 13">
                <a:extLst>
                  <a:ext uri="{FF2B5EF4-FFF2-40B4-BE49-F238E27FC236}">
                    <a16:creationId xmlns:a16="http://schemas.microsoft.com/office/drawing/2014/main" id="{6F11A267-18AA-EE67-A11A-5D2E17357F7D}"/>
                  </a:ext>
                </a:extLst>
              </p:cNvPr>
              <p:cNvSpPr/>
              <p:nvPr/>
            </p:nvSpPr>
            <p:spPr>
              <a:xfrm>
                <a:off x="4197604" y="2727768"/>
                <a:ext cx="3350148" cy="3634769"/>
              </a:xfrm>
              <a:prstGeom prst="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32" name="CuadroTexto 31">
                <a:extLst>
                  <a:ext uri="{FF2B5EF4-FFF2-40B4-BE49-F238E27FC236}">
                    <a16:creationId xmlns:a16="http://schemas.microsoft.com/office/drawing/2014/main" id="{44778657-FC8B-7B0C-7F9C-DA733EA684BF}"/>
                  </a:ext>
                </a:extLst>
              </p:cNvPr>
              <p:cNvSpPr txBox="1"/>
              <p:nvPr/>
            </p:nvSpPr>
            <p:spPr>
              <a:xfrm>
                <a:off x="4325591" y="5432561"/>
                <a:ext cx="3078077" cy="849849"/>
              </a:xfrm>
              <a:prstGeom prst="rect">
                <a:avLst/>
              </a:prstGeom>
              <a:solidFill>
                <a:schemeClr val="bg1">
                  <a:lumMod val="95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100" b="1" i="1"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Aumentar la seguridad es tarea de todos</a:t>
                </a:r>
              </a:p>
            </p:txBody>
          </p:sp>
        </p:grpSp>
        <p:pic>
          <p:nvPicPr>
            <p:cNvPr id="1030" name="Picture 6" descr="Resultado de imagen de sistemas de seguridad metro">
              <a:extLst>
                <a:ext uri="{FF2B5EF4-FFF2-40B4-BE49-F238E27FC236}">
                  <a16:creationId xmlns:a16="http://schemas.microsoft.com/office/drawing/2014/main" id="{37510AD9-CC03-04A5-C4D7-D726226C798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78429" y="2578548"/>
              <a:ext cx="3214361" cy="27948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upo 3">
            <a:extLst>
              <a:ext uri="{FF2B5EF4-FFF2-40B4-BE49-F238E27FC236}">
                <a16:creationId xmlns:a16="http://schemas.microsoft.com/office/drawing/2014/main" id="{1C8D5202-D056-76B6-AED0-F9CDA35DF1DE}"/>
              </a:ext>
            </a:extLst>
          </p:cNvPr>
          <p:cNvGrpSpPr/>
          <p:nvPr/>
        </p:nvGrpSpPr>
        <p:grpSpPr>
          <a:xfrm>
            <a:off x="4151424" y="3821484"/>
            <a:ext cx="3465190" cy="2483075"/>
            <a:chOff x="4197604" y="1717535"/>
            <a:chExt cx="3350148" cy="4645002"/>
          </a:xfrm>
        </p:grpSpPr>
        <p:sp>
          <p:nvSpPr>
            <p:cNvPr id="11" name="Rectángulo 10">
              <a:extLst>
                <a:ext uri="{FF2B5EF4-FFF2-40B4-BE49-F238E27FC236}">
                  <a16:creationId xmlns:a16="http://schemas.microsoft.com/office/drawing/2014/main" id="{A63A0798-6A4C-5A2F-0E11-633ADBEC5102}"/>
                </a:ext>
              </a:extLst>
            </p:cNvPr>
            <p:cNvSpPr/>
            <p:nvPr/>
          </p:nvSpPr>
          <p:spPr>
            <a:xfrm>
              <a:off x="4197604" y="1717535"/>
              <a:ext cx="3350148" cy="919995"/>
            </a:xfrm>
            <a:prstGeom prst="rect">
              <a:avLst/>
            </a:prstGeom>
            <a:solidFill>
              <a:srgbClr val="1E1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white"/>
                  </a:solidFill>
                  <a:effectLst/>
                  <a:uLnTx/>
                  <a:uFillTx/>
                  <a:latin typeface="Montserrat" panose="00000500000000000000" pitchFamily="2" charset="0"/>
                </a:rPr>
                <a:t>Nuevas formas de atención al cliente y medios de pag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p:txBody>
        </p:sp>
        <p:sp>
          <p:nvSpPr>
            <p:cNvPr id="12" name="Rectángulo 11">
              <a:extLst>
                <a:ext uri="{FF2B5EF4-FFF2-40B4-BE49-F238E27FC236}">
                  <a16:creationId xmlns:a16="http://schemas.microsoft.com/office/drawing/2014/main" id="{C780A0BA-07B5-F279-F712-EEB298FA9A1C}"/>
                </a:ext>
              </a:extLst>
            </p:cNvPr>
            <p:cNvSpPr/>
            <p:nvPr/>
          </p:nvSpPr>
          <p:spPr>
            <a:xfrm>
              <a:off x="4197604" y="2727768"/>
              <a:ext cx="3350148" cy="3634769"/>
            </a:xfrm>
            <a:prstGeom prst="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6" name="CuadroTexto 15">
              <a:extLst>
                <a:ext uri="{FF2B5EF4-FFF2-40B4-BE49-F238E27FC236}">
                  <a16:creationId xmlns:a16="http://schemas.microsoft.com/office/drawing/2014/main" id="{51F90DCF-D4AA-9BFD-14DA-02266505D717}"/>
                </a:ext>
              </a:extLst>
            </p:cNvPr>
            <p:cNvSpPr txBox="1"/>
            <p:nvPr/>
          </p:nvSpPr>
          <p:spPr>
            <a:xfrm>
              <a:off x="4325590" y="5174796"/>
              <a:ext cx="3078077" cy="1122706"/>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1"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Un 49% de las empresas invertirá en canales remotos para la atención a clientes</a:t>
              </a:r>
            </a:p>
          </p:txBody>
        </p:sp>
        <p:pic>
          <p:nvPicPr>
            <p:cNvPr id="17" name="Picture 2" descr="BancoEstado inaugura modelo de autoservicio y atención remota para llegar a  todas las comunas de Chile | BancoEstado Corporativo">
              <a:extLst>
                <a:ext uri="{FF2B5EF4-FFF2-40B4-BE49-F238E27FC236}">
                  <a16:creationId xmlns:a16="http://schemas.microsoft.com/office/drawing/2014/main" id="{A9B7618A-51D5-BEBA-1766-D9CFA7A7E50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33640" y="2822685"/>
              <a:ext cx="3078076" cy="23521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upo 17">
            <a:extLst>
              <a:ext uri="{FF2B5EF4-FFF2-40B4-BE49-F238E27FC236}">
                <a16:creationId xmlns:a16="http://schemas.microsoft.com/office/drawing/2014/main" id="{8410E29B-32BE-BDD0-B4E2-CB5F2293AD65}"/>
              </a:ext>
            </a:extLst>
          </p:cNvPr>
          <p:cNvGrpSpPr/>
          <p:nvPr/>
        </p:nvGrpSpPr>
        <p:grpSpPr>
          <a:xfrm>
            <a:off x="273092" y="3821484"/>
            <a:ext cx="3465190" cy="2483075"/>
            <a:chOff x="273092" y="1717535"/>
            <a:chExt cx="3350148" cy="4645002"/>
          </a:xfrm>
        </p:grpSpPr>
        <p:sp>
          <p:nvSpPr>
            <p:cNvPr id="19" name="Rectángulo 18">
              <a:extLst>
                <a:ext uri="{FF2B5EF4-FFF2-40B4-BE49-F238E27FC236}">
                  <a16:creationId xmlns:a16="http://schemas.microsoft.com/office/drawing/2014/main" id="{C698E7BB-973F-43B1-9D81-80A525E8968A}"/>
                </a:ext>
              </a:extLst>
            </p:cNvPr>
            <p:cNvSpPr/>
            <p:nvPr/>
          </p:nvSpPr>
          <p:spPr>
            <a:xfrm>
              <a:off x="273092" y="1717535"/>
              <a:ext cx="3350148" cy="919995"/>
            </a:xfrm>
            <a:prstGeom prst="rect">
              <a:avLst/>
            </a:prstGeom>
            <a:solidFill>
              <a:srgbClr val="1E1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200" b="1" i="0" u="none" strike="noStrike" kern="1200" cap="none" spc="0" normalizeH="0" baseline="0" noProof="0" dirty="0">
                  <a:ln>
                    <a:noFill/>
                  </a:ln>
                  <a:solidFill>
                    <a:prstClr val="white"/>
                  </a:solidFill>
                  <a:effectLst/>
                  <a:uLnTx/>
                  <a:uFillTx/>
                  <a:latin typeface="Montserrat" panose="00000500000000000000" pitchFamily="2" charset="0"/>
                </a:rPr>
                <a:t>Espacios, personas e infraestructura hiperconectad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p:txBody>
        </p:sp>
        <p:sp>
          <p:nvSpPr>
            <p:cNvPr id="21" name="Rectángulo 20">
              <a:extLst>
                <a:ext uri="{FF2B5EF4-FFF2-40B4-BE49-F238E27FC236}">
                  <a16:creationId xmlns:a16="http://schemas.microsoft.com/office/drawing/2014/main" id="{C474CB47-CB1A-15BC-2614-E1C396A008D7}"/>
                </a:ext>
              </a:extLst>
            </p:cNvPr>
            <p:cNvSpPr/>
            <p:nvPr/>
          </p:nvSpPr>
          <p:spPr>
            <a:xfrm>
              <a:off x="273092" y="2727768"/>
              <a:ext cx="3350148" cy="3634769"/>
            </a:xfrm>
            <a:prstGeom prst="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24" name="CuadroTexto 23">
              <a:extLst>
                <a:ext uri="{FF2B5EF4-FFF2-40B4-BE49-F238E27FC236}">
                  <a16:creationId xmlns:a16="http://schemas.microsoft.com/office/drawing/2014/main" id="{FDEA94D4-E25D-1300-9F23-629B87857B7F}"/>
                </a:ext>
              </a:extLst>
            </p:cNvPr>
            <p:cNvSpPr txBox="1"/>
            <p:nvPr/>
          </p:nvSpPr>
          <p:spPr>
            <a:xfrm>
              <a:off x="413452" y="5493435"/>
              <a:ext cx="3078077" cy="806045"/>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1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La hiperconectividad y la movilidad, un binomio que se apropia del futuro”</a:t>
              </a:r>
              <a:endParaRPr kumimoji="0" lang="es-CL" sz="11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endParaRPr>
            </a:p>
          </p:txBody>
        </p:sp>
        <p:pic>
          <p:nvPicPr>
            <p:cNvPr id="25" name="Picture 2" descr="Industry4.0 and IoT(Internet of Things). Factory automation system. AI(Artificial Intelligence).">
              <a:extLst>
                <a:ext uri="{FF2B5EF4-FFF2-40B4-BE49-F238E27FC236}">
                  <a16:creationId xmlns:a16="http://schemas.microsoft.com/office/drawing/2014/main" id="{2612198E-1A2B-71D2-B7DF-A394F9DB4CF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3452" y="2822685"/>
              <a:ext cx="3078077" cy="262385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upo 26">
            <a:extLst>
              <a:ext uri="{FF2B5EF4-FFF2-40B4-BE49-F238E27FC236}">
                <a16:creationId xmlns:a16="http://schemas.microsoft.com/office/drawing/2014/main" id="{1CF9A927-97D4-01E0-3017-0BA6AF9C861F}"/>
              </a:ext>
            </a:extLst>
          </p:cNvPr>
          <p:cNvGrpSpPr/>
          <p:nvPr/>
        </p:nvGrpSpPr>
        <p:grpSpPr>
          <a:xfrm>
            <a:off x="8029756" y="3821485"/>
            <a:ext cx="3465190" cy="2483076"/>
            <a:chOff x="8122116" y="1442505"/>
            <a:chExt cx="3465190" cy="4892325"/>
          </a:xfrm>
        </p:grpSpPr>
        <p:sp>
          <p:nvSpPr>
            <p:cNvPr id="28" name="Rectángulo 27">
              <a:extLst>
                <a:ext uri="{FF2B5EF4-FFF2-40B4-BE49-F238E27FC236}">
                  <a16:creationId xmlns:a16="http://schemas.microsoft.com/office/drawing/2014/main" id="{CF6BAB9A-B422-4321-67EE-247D150A5226}"/>
                </a:ext>
              </a:extLst>
            </p:cNvPr>
            <p:cNvSpPr/>
            <p:nvPr/>
          </p:nvSpPr>
          <p:spPr>
            <a:xfrm>
              <a:off x="8139020" y="2506528"/>
              <a:ext cx="3448286" cy="3828302"/>
            </a:xfrm>
            <a:prstGeom prst="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0" i="0" u="none" strike="noStrike" kern="1200" cap="none" spc="0" normalizeH="0" baseline="0" noProof="0">
                <a:ln>
                  <a:noFill/>
                </a:ln>
                <a:solidFill>
                  <a:prstClr val="white"/>
                </a:solidFill>
                <a:effectLst/>
                <a:uLnTx/>
                <a:uFillTx/>
                <a:latin typeface="Montserrat" panose="00000500000000000000" pitchFamily="2" charset="0"/>
              </a:endParaRPr>
            </a:p>
          </p:txBody>
        </p:sp>
        <p:grpSp>
          <p:nvGrpSpPr>
            <p:cNvPr id="29" name="Grupo 28">
              <a:extLst>
                <a:ext uri="{FF2B5EF4-FFF2-40B4-BE49-F238E27FC236}">
                  <a16:creationId xmlns:a16="http://schemas.microsoft.com/office/drawing/2014/main" id="{802BE819-64AE-1D4E-1CE2-122F5271C3A7}"/>
                </a:ext>
              </a:extLst>
            </p:cNvPr>
            <p:cNvGrpSpPr/>
            <p:nvPr/>
          </p:nvGrpSpPr>
          <p:grpSpPr>
            <a:xfrm>
              <a:off x="8122116" y="1442505"/>
              <a:ext cx="3465190" cy="4812198"/>
              <a:chOff x="8122116" y="1717535"/>
              <a:chExt cx="3350148" cy="4564875"/>
            </a:xfrm>
          </p:grpSpPr>
          <p:sp>
            <p:nvSpPr>
              <p:cNvPr id="31" name="Rectángulo 30">
                <a:extLst>
                  <a:ext uri="{FF2B5EF4-FFF2-40B4-BE49-F238E27FC236}">
                    <a16:creationId xmlns:a16="http://schemas.microsoft.com/office/drawing/2014/main" id="{A69D6E24-3D84-E2CB-9841-F3A5ADA75CDD}"/>
                  </a:ext>
                </a:extLst>
              </p:cNvPr>
              <p:cNvSpPr/>
              <p:nvPr/>
            </p:nvSpPr>
            <p:spPr>
              <a:xfrm>
                <a:off x="8122116" y="1717535"/>
                <a:ext cx="3350148" cy="919995"/>
              </a:xfrm>
              <a:prstGeom prst="rect">
                <a:avLst/>
              </a:prstGeom>
              <a:solidFill>
                <a:srgbClr val="1E1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prstClr val="white"/>
                    </a:solidFill>
                    <a:effectLst/>
                    <a:uLnTx/>
                    <a:uFillTx/>
                    <a:latin typeface="Montserrat" panose="00000500000000000000" pitchFamily="2" charset="0"/>
                  </a:rPr>
                  <a:t>Tendencia en otros Metros del mund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100" b="1" i="0" u="none" strike="noStrike" kern="1200" cap="none" spc="0" normalizeH="0" baseline="0" noProof="0" dirty="0">
                  <a:ln>
                    <a:noFill/>
                  </a:ln>
                  <a:solidFill>
                    <a:prstClr val="white"/>
                  </a:solidFill>
                  <a:effectLst/>
                  <a:uLnTx/>
                  <a:uFillTx/>
                  <a:latin typeface="Montserrat" panose="00000500000000000000" pitchFamily="2" charset="0"/>
                </a:endParaRPr>
              </a:p>
            </p:txBody>
          </p:sp>
          <p:sp>
            <p:nvSpPr>
              <p:cNvPr id="34" name="CuadroTexto 33">
                <a:extLst>
                  <a:ext uri="{FF2B5EF4-FFF2-40B4-BE49-F238E27FC236}">
                    <a16:creationId xmlns:a16="http://schemas.microsoft.com/office/drawing/2014/main" id="{D5582FBA-F191-595F-01B7-9E5BDD8A553C}"/>
                  </a:ext>
                </a:extLst>
              </p:cNvPr>
              <p:cNvSpPr txBox="1"/>
              <p:nvPr/>
            </p:nvSpPr>
            <p:spPr>
              <a:xfrm>
                <a:off x="8227596" y="5443228"/>
                <a:ext cx="3139187" cy="839182"/>
              </a:xfrm>
              <a:prstGeom prst="rect">
                <a:avLst/>
              </a:prstGeom>
              <a:solidFill>
                <a:schemeClr val="bg1">
                  <a:lumMod val="95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1"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Automatización del tráfico de trenes y estaciones</a:t>
                </a:r>
                <a:endParaRPr kumimoji="0" lang="es-MX" sz="1100" b="1" i="1"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endParaRPr>
              </a:p>
            </p:txBody>
          </p:sp>
        </p:grpSp>
        <p:pic>
          <p:nvPicPr>
            <p:cNvPr id="30" name="Imagen 29">
              <a:extLst>
                <a:ext uri="{FF2B5EF4-FFF2-40B4-BE49-F238E27FC236}">
                  <a16:creationId xmlns:a16="http://schemas.microsoft.com/office/drawing/2014/main" id="{F90ACD99-C1B2-A61E-F651-78404611C7C9}"/>
                </a:ext>
              </a:extLst>
            </p:cNvPr>
            <p:cNvPicPr>
              <a:picLocks noChangeAspect="1"/>
            </p:cNvPicPr>
            <p:nvPr/>
          </p:nvPicPr>
          <p:blipFill>
            <a:blip r:embed="rId12"/>
            <a:stretch>
              <a:fillRect/>
            </a:stretch>
          </p:blipFill>
          <p:spPr>
            <a:xfrm>
              <a:off x="8231218" y="2583101"/>
              <a:ext cx="3246984" cy="2786956"/>
            </a:xfrm>
            <a:prstGeom prst="rect">
              <a:avLst/>
            </a:prstGeom>
          </p:spPr>
        </p:pic>
      </p:grpSp>
      <p:sp>
        <p:nvSpPr>
          <p:cNvPr id="2" name="Título 1">
            <a:extLst>
              <a:ext uri="{FF2B5EF4-FFF2-40B4-BE49-F238E27FC236}">
                <a16:creationId xmlns:a16="http://schemas.microsoft.com/office/drawing/2014/main" id="{A259D072-D2B0-D6AD-4698-AAE26001B46E}"/>
              </a:ext>
            </a:extLst>
          </p:cNvPr>
          <p:cNvSpPr>
            <a:spLocks noGrp="1"/>
          </p:cNvSpPr>
          <p:nvPr>
            <p:ph type="title"/>
          </p:nvPr>
        </p:nvSpPr>
        <p:spPr/>
        <p:txBody>
          <a:bodyPr vert="horz"/>
          <a:lstStyle/>
          <a:p>
            <a:r>
              <a:rPr lang="es-ES" dirty="0"/>
              <a:t>Salimos a mirar el mundo</a:t>
            </a:r>
            <a:endParaRPr lang="es-CL" dirty="0"/>
          </a:p>
        </p:txBody>
      </p:sp>
    </p:spTree>
    <p:extLst>
      <p:ext uri="{BB962C8B-B14F-4D97-AF65-F5344CB8AC3E}">
        <p14:creationId xmlns:p14="http://schemas.microsoft.com/office/powerpoint/2010/main" val="29128027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70DE9C5-D599-ED1E-E56B-56A69468E304}"/>
              </a:ext>
            </a:extLst>
          </p:cNvPr>
          <p:cNvGraphicFramePr>
            <a:graphicFrameLocks noChangeAspect="1"/>
          </p:cNvGraphicFramePr>
          <p:nvPr>
            <p:custDataLst>
              <p:tags r:id="rId2"/>
            </p:custDataLst>
            <p:extLst>
              <p:ext uri="{D42A27DB-BD31-4B8C-83A1-F6EECF244321}">
                <p14:modId xmlns:p14="http://schemas.microsoft.com/office/powerpoint/2010/main" val="1379050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Diapositiva de think-cell" r:id="rId5" imgW="395" imgH="394" progId="TCLayout.ActiveDocument.1">
                  <p:embed/>
                </p:oleObj>
              </mc:Choice>
              <mc:Fallback>
                <p:oleObj name="Diapositiva de think-cell" r:id="rId5" imgW="395" imgH="394" progId="TCLayout.ActiveDocument.1">
                  <p:embed/>
                  <p:pic>
                    <p:nvPicPr>
                      <p:cNvPr id="8" name="think-cell data - do not delete" hidden="1">
                        <a:extLst>
                          <a:ext uri="{FF2B5EF4-FFF2-40B4-BE49-F238E27FC236}">
                            <a16:creationId xmlns:a16="http://schemas.microsoft.com/office/drawing/2014/main" id="{070DE9C5-D599-ED1E-E56B-56A69468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ángulo: esquinas redondeadas 31">
            <a:extLst>
              <a:ext uri="{FF2B5EF4-FFF2-40B4-BE49-F238E27FC236}">
                <a16:creationId xmlns:a16="http://schemas.microsoft.com/office/drawing/2014/main" id="{577A3052-A502-8F9A-C876-C09BC2FC920A}"/>
              </a:ext>
            </a:extLst>
          </p:cNvPr>
          <p:cNvSpPr/>
          <p:nvPr/>
        </p:nvSpPr>
        <p:spPr>
          <a:xfrm>
            <a:off x="3851341" y="2724707"/>
            <a:ext cx="4493375" cy="3573372"/>
          </a:xfrm>
          <a:prstGeom prst="round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endParaRPr>
          </a:p>
        </p:txBody>
      </p:sp>
      <p:sp>
        <p:nvSpPr>
          <p:cNvPr id="12" name="Rectángulo: esquinas redondeadas 11">
            <a:extLst>
              <a:ext uri="{FF2B5EF4-FFF2-40B4-BE49-F238E27FC236}">
                <a16:creationId xmlns:a16="http://schemas.microsoft.com/office/drawing/2014/main" id="{8AEF77BB-2B03-893F-0661-253BD8F09828}"/>
              </a:ext>
            </a:extLst>
          </p:cNvPr>
          <p:cNvSpPr/>
          <p:nvPr/>
        </p:nvSpPr>
        <p:spPr>
          <a:xfrm>
            <a:off x="8764274" y="5404656"/>
            <a:ext cx="1911823" cy="893423"/>
          </a:xfrm>
          <a:prstGeom prst="round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Alcance, presupuesto y planificación</a:t>
            </a:r>
          </a:p>
        </p:txBody>
      </p:sp>
      <p:sp>
        <p:nvSpPr>
          <p:cNvPr id="11" name="Rectángulo: esquinas redondeadas 10">
            <a:extLst>
              <a:ext uri="{FF2B5EF4-FFF2-40B4-BE49-F238E27FC236}">
                <a16:creationId xmlns:a16="http://schemas.microsoft.com/office/drawing/2014/main" id="{99673C57-84AB-7ABE-BEDA-69FC9507DB9C}"/>
              </a:ext>
            </a:extLst>
          </p:cNvPr>
          <p:cNvSpPr/>
          <p:nvPr/>
        </p:nvSpPr>
        <p:spPr>
          <a:xfrm>
            <a:off x="1362635" y="2724707"/>
            <a:ext cx="1850419" cy="1335561"/>
          </a:xfrm>
          <a:prstGeom prst="roundRect">
            <a:avLst/>
          </a:prstGeom>
          <a:solidFill>
            <a:schemeClr val="bg1"/>
          </a:solidFill>
          <a:ln>
            <a:solidFill>
              <a:schemeClr val="tx1">
                <a:lumMod val="50000"/>
                <a:lumOff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8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Proceso de diagnóstic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8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800" b="0"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Renovación de activos</a:t>
            </a:r>
          </a:p>
        </p:txBody>
      </p:sp>
      <p:grpSp>
        <p:nvGrpSpPr>
          <p:cNvPr id="78" name="Grupo 77">
            <a:extLst>
              <a:ext uri="{FF2B5EF4-FFF2-40B4-BE49-F238E27FC236}">
                <a16:creationId xmlns:a16="http://schemas.microsoft.com/office/drawing/2014/main" id="{5CC81945-6651-B72A-B73E-463F0ACE9D98}"/>
              </a:ext>
            </a:extLst>
          </p:cNvPr>
          <p:cNvGrpSpPr/>
          <p:nvPr/>
        </p:nvGrpSpPr>
        <p:grpSpPr>
          <a:xfrm>
            <a:off x="3915290" y="1354546"/>
            <a:ext cx="4223216" cy="1324073"/>
            <a:chOff x="1097647" y="336237"/>
            <a:chExt cx="4479533" cy="2242898"/>
          </a:xfrm>
        </p:grpSpPr>
        <p:sp>
          <p:nvSpPr>
            <p:cNvPr id="80" name="Rectángulo: esquinas redondeadas 79">
              <a:extLst>
                <a:ext uri="{FF2B5EF4-FFF2-40B4-BE49-F238E27FC236}">
                  <a16:creationId xmlns:a16="http://schemas.microsoft.com/office/drawing/2014/main" id="{CBCFD3BD-9CC5-D4F2-F2FC-BC0209CF20D5}"/>
                </a:ext>
              </a:extLst>
            </p:cNvPr>
            <p:cNvSpPr/>
            <p:nvPr/>
          </p:nvSpPr>
          <p:spPr>
            <a:xfrm>
              <a:off x="1097647" y="336237"/>
              <a:ext cx="4479533" cy="2242898"/>
            </a:xfrm>
            <a:prstGeom prst="round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81" name="Rectángulo: esquinas redondeadas 80">
              <a:extLst>
                <a:ext uri="{FF2B5EF4-FFF2-40B4-BE49-F238E27FC236}">
                  <a16:creationId xmlns:a16="http://schemas.microsoft.com/office/drawing/2014/main" id="{21A01426-5631-9071-57E9-8F98459A64A1}"/>
                </a:ext>
              </a:extLst>
            </p:cNvPr>
            <p:cNvSpPr/>
            <p:nvPr/>
          </p:nvSpPr>
          <p:spPr>
            <a:xfrm>
              <a:off x="1212350" y="463243"/>
              <a:ext cx="4232952" cy="2003385"/>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82" name="CuadroTexto 81">
              <a:extLst>
                <a:ext uri="{FF2B5EF4-FFF2-40B4-BE49-F238E27FC236}">
                  <a16:creationId xmlns:a16="http://schemas.microsoft.com/office/drawing/2014/main" id="{A422A7AF-2C91-6B5B-BE4E-80AC99DA1DFE}"/>
                </a:ext>
              </a:extLst>
            </p:cNvPr>
            <p:cNvSpPr txBox="1"/>
            <p:nvPr/>
          </p:nvSpPr>
          <p:spPr>
            <a:xfrm>
              <a:off x="1836679" y="750969"/>
              <a:ext cx="3001469" cy="14076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24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Proceso iterativo</a:t>
              </a:r>
            </a:p>
          </p:txBody>
        </p:sp>
      </p:grpSp>
      <p:grpSp>
        <p:nvGrpSpPr>
          <p:cNvPr id="9" name="Grupo 8">
            <a:extLst>
              <a:ext uri="{FF2B5EF4-FFF2-40B4-BE49-F238E27FC236}">
                <a16:creationId xmlns:a16="http://schemas.microsoft.com/office/drawing/2014/main" id="{E36E6413-757E-80CC-5F67-2E9E34DB76AC}"/>
              </a:ext>
            </a:extLst>
          </p:cNvPr>
          <p:cNvGrpSpPr/>
          <p:nvPr/>
        </p:nvGrpSpPr>
        <p:grpSpPr>
          <a:xfrm>
            <a:off x="5182466" y="2736466"/>
            <a:ext cx="1695584" cy="1659121"/>
            <a:chOff x="5248448" y="2798885"/>
            <a:chExt cx="1695584" cy="1659121"/>
          </a:xfrm>
        </p:grpSpPr>
        <p:sp>
          <p:nvSpPr>
            <p:cNvPr id="88" name="Elipse 87">
              <a:extLst>
                <a:ext uri="{FF2B5EF4-FFF2-40B4-BE49-F238E27FC236}">
                  <a16:creationId xmlns:a16="http://schemas.microsoft.com/office/drawing/2014/main" id="{7CAB9117-3979-8308-46BF-C5056930AE13}"/>
                </a:ext>
              </a:extLst>
            </p:cNvPr>
            <p:cNvSpPr/>
            <p:nvPr/>
          </p:nvSpPr>
          <p:spPr>
            <a:xfrm rot="4485713">
              <a:off x="5266679" y="2780654"/>
              <a:ext cx="1659121" cy="1695584"/>
            </a:xfrm>
            <a:prstGeom prst="ellipse">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95" name="CuadroTexto 94">
              <a:extLst>
                <a:ext uri="{FF2B5EF4-FFF2-40B4-BE49-F238E27FC236}">
                  <a16:creationId xmlns:a16="http://schemas.microsoft.com/office/drawing/2014/main" id="{779FAFCF-A8C6-51A4-FB3C-A5BB971EE682}"/>
                </a:ext>
              </a:extLst>
            </p:cNvPr>
            <p:cNvSpPr txBox="1"/>
            <p:nvPr/>
          </p:nvSpPr>
          <p:spPr>
            <a:xfrm>
              <a:off x="5360642" y="3194994"/>
              <a:ext cx="152708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20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Talleres con ejecutivos </a:t>
              </a:r>
            </a:p>
          </p:txBody>
        </p:sp>
        <p:pic>
          <p:nvPicPr>
            <p:cNvPr id="121" name="Gráfico 120" descr="Junta de directores con relleno sólido">
              <a:extLst>
                <a:ext uri="{FF2B5EF4-FFF2-40B4-BE49-F238E27FC236}">
                  <a16:creationId xmlns:a16="http://schemas.microsoft.com/office/drawing/2014/main" id="{7CE79001-75A3-E2C7-86F2-448D187BEBA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5792837" y="2842165"/>
              <a:ext cx="612049" cy="598887"/>
            </a:xfrm>
            <a:prstGeom prst="rect">
              <a:avLst/>
            </a:prstGeom>
          </p:spPr>
        </p:pic>
      </p:grpSp>
      <p:grpSp>
        <p:nvGrpSpPr>
          <p:cNvPr id="31" name="Grupo 30">
            <a:extLst>
              <a:ext uri="{FF2B5EF4-FFF2-40B4-BE49-F238E27FC236}">
                <a16:creationId xmlns:a16="http://schemas.microsoft.com/office/drawing/2014/main" id="{181C1458-914E-75AF-4084-C0F1D396378E}"/>
              </a:ext>
            </a:extLst>
          </p:cNvPr>
          <p:cNvGrpSpPr/>
          <p:nvPr/>
        </p:nvGrpSpPr>
        <p:grpSpPr>
          <a:xfrm>
            <a:off x="6460904" y="4473267"/>
            <a:ext cx="1695584" cy="1659121"/>
            <a:chOff x="6010307" y="3974007"/>
            <a:chExt cx="1695584" cy="1659121"/>
          </a:xfrm>
        </p:grpSpPr>
        <p:sp>
          <p:nvSpPr>
            <p:cNvPr id="90" name="Elipse 89">
              <a:extLst>
                <a:ext uri="{FF2B5EF4-FFF2-40B4-BE49-F238E27FC236}">
                  <a16:creationId xmlns:a16="http://schemas.microsoft.com/office/drawing/2014/main" id="{81174188-BF2A-D669-C6E0-5B1E05C8F339}"/>
                </a:ext>
              </a:extLst>
            </p:cNvPr>
            <p:cNvSpPr/>
            <p:nvPr/>
          </p:nvSpPr>
          <p:spPr>
            <a:xfrm rot="4485713">
              <a:off x="6028538" y="3955776"/>
              <a:ext cx="1659121" cy="1695584"/>
            </a:xfrm>
            <a:prstGeom prst="ellipse">
              <a:avLst/>
            </a:prstGeom>
            <a:solidFill>
              <a:schemeClr val="bg1">
                <a:lumMod val="8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96" name="CuadroTexto 95">
              <a:extLst>
                <a:ext uri="{FF2B5EF4-FFF2-40B4-BE49-F238E27FC236}">
                  <a16:creationId xmlns:a16="http://schemas.microsoft.com/office/drawing/2014/main" id="{CD368738-FEE2-932D-BE89-9471062B81A5}"/>
                </a:ext>
              </a:extLst>
            </p:cNvPr>
            <p:cNvSpPr txBox="1"/>
            <p:nvPr/>
          </p:nvSpPr>
          <p:spPr>
            <a:xfrm>
              <a:off x="6151837" y="4407797"/>
              <a:ext cx="147947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20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Mesas técnicas</a:t>
              </a:r>
            </a:p>
          </p:txBody>
        </p:sp>
        <p:pic>
          <p:nvPicPr>
            <p:cNvPr id="123" name="Gráfico 122" descr="Sala de juntas con relleno sólido">
              <a:extLst>
                <a:ext uri="{FF2B5EF4-FFF2-40B4-BE49-F238E27FC236}">
                  <a16:creationId xmlns:a16="http://schemas.microsoft.com/office/drawing/2014/main" id="{DC5FA204-DC1D-2C8C-8A41-E5799B9021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6621004" y="4337130"/>
              <a:ext cx="541144" cy="529507"/>
            </a:xfrm>
            <a:prstGeom prst="rect">
              <a:avLst/>
            </a:prstGeom>
          </p:spPr>
        </p:pic>
      </p:grpSp>
      <p:grpSp>
        <p:nvGrpSpPr>
          <p:cNvPr id="30" name="Grupo 29">
            <a:extLst>
              <a:ext uri="{FF2B5EF4-FFF2-40B4-BE49-F238E27FC236}">
                <a16:creationId xmlns:a16="http://schemas.microsoft.com/office/drawing/2014/main" id="{D266E97B-E476-9A59-6C5C-6DBE5059ED65}"/>
              </a:ext>
            </a:extLst>
          </p:cNvPr>
          <p:cNvGrpSpPr/>
          <p:nvPr/>
        </p:nvGrpSpPr>
        <p:grpSpPr>
          <a:xfrm>
            <a:off x="4039570" y="4477691"/>
            <a:ext cx="1695584" cy="1659121"/>
            <a:chOff x="4390144" y="3975274"/>
            <a:chExt cx="1695584" cy="1659121"/>
          </a:xfrm>
        </p:grpSpPr>
        <p:sp>
          <p:nvSpPr>
            <p:cNvPr id="91" name="Elipse 90">
              <a:extLst>
                <a:ext uri="{FF2B5EF4-FFF2-40B4-BE49-F238E27FC236}">
                  <a16:creationId xmlns:a16="http://schemas.microsoft.com/office/drawing/2014/main" id="{55E1064E-4676-142A-4107-B172257AC19D}"/>
                </a:ext>
              </a:extLst>
            </p:cNvPr>
            <p:cNvSpPr/>
            <p:nvPr/>
          </p:nvSpPr>
          <p:spPr>
            <a:xfrm rot="4485713">
              <a:off x="4408375" y="3957043"/>
              <a:ext cx="1659121" cy="1695584"/>
            </a:xfrm>
            <a:prstGeom prst="ellipse">
              <a:avLst/>
            </a:prstGeom>
            <a:solidFill>
              <a:schemeClr val="bg1">
                <a:lumMod val="7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02" name="CuadroTexto 101">
              <a:extLst>
                <a:ext uri="{FF2B5EF4-FFF2-40B4-BE49-F238E27FC236}">
                  <a16:creationId xmlns:a16="http://schemas.microsoft.com/office/drawing/2014/main" id="{B87F0CAB-041B-0766-1F5F-6B7C9CCFA56D}"/>
                </a:ext>
              </a:extLst>
            </p:cNvPr>
            <p:cNvSpPr txBox="1"/>
            <p:nvPr/>
          </p:nvSpPr>
          <p:spPr>
            <a:xfrm>
              <a:off x="4496371" y="4368783"/>
              <a:ext cx="147947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20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prstClr val="black">
                      <a:lumMod val="65000"/>
                      <a:lumOff val="35000"/>
                    </a:prstClr>
                  </a:solidFill>
                  <a:effectLst/>
                  <a:uLnTx/>
                  <a:uFillTx/>
                  <a:latin typeface="Montserrat" panose="00000500000000000000" pitchFamily="2" charset="0"/>
                </a:rPr>
                <a:t>Talleres ampliados</a:t>
              </a:r>
            </a:p>
          </p:txBody>
        </p:sp>
        <p:pic>
          <p:nvPicPr>
            <p:cNvPr id="125" name="Gráfico 124" descr="Usuarios con relleno sólido">
              <a:extLst>
                <a:ext uri="{FF2B5EF4-FFF2-40B4-BE49-F238E27FC236}">
                  <a16:creationId xmlns:a16="http://schemas.microsoft.com/office/drawing/2014/main" id="{4F096D71-03AF-09C6-8C52-93A54007F10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4954146" y="4245260"/>
              <a:ext cx="541144" cy="529507"/>
            </a:xfrm>
            <a:prstGeom prst="rect">
              <a:avLst/>
            </a:prstGeom>
          </p:spPr>
        </p:pic>
      </p:grpSp>
      <p:sp>
        <p:nvSpPr>
          <p:cNvPr id="160" name="Flecha: circular 159">
            <a:extLst>
              <a:ext uri="{FF2B5EF4-FFF2-40B4-BE49-F238E27FC236}">
                <a16:creationId xmlns:a16="http://schemas.microsoft.com/office/drawing/2014/main" id="{19955BD4-1DC4-D24B-61CD-14BE58EE87F7}"/>
              </a:ext>
            </a:extLst>
          </p:cNvPr>
          <p:cNvSpPr/>
          <p:nvPr/>
        </p:nvSpPr>
        <p:spPr>
          <a:xfrm>
            <a:off x="2927577" y="3156460"/>
            <a:ext cx="1082241" cy="1104527"/>
          </a:xfrm>
          <a:prstGeom prst="circularArrow">
            <a:avLst>
              <a:gd name="adj1" fmla="val 12500"/>
              <a:gd name="adj2" fmla="val 1142319"/>
              <a:gd name="adj3" fmla="val 20457681"/>
              <a:gd name="adj4" fmla="val 14373796"/>
              <a:gd name="adj5" fmla="val 12500"/>
            </a:avLst>
          </a:prstGeom>
          <a:solidFill>
            <a:srgbClr val="1E1D26"/>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black"/>
              </a:solidFill>
              <a:effectLst/>
              <a:uLnTx/>
              <a:uFillTx/>
              <a:latin typeface="Montserrat" panose="00000500000000000000" pitchFamily="2" charset="0"/>
            </a:endParaRPr>
          </a:p>
        </p:txBody>
      </p:sp>
      <p:sp>
        <p:nvSpPr>
          <p:cNvPr id="10" name="Rectángulo: esquinas redondeadas 9">
            <a:extLst>
              <a:ext uri="{FF2B5EF4-FFF2-40B4-BE49-F238E27FC236}">
                <a16:creationId xmlns:a16="http://schemas.microsoft.com/office/drawing/2014/main" id="{101FD2D6-DD2C-3452-5307-7C79A33BBA3E}"/>
              </a:ext>
            </a:extLst>
          </p:cNvPr>
          <p:cNvSpPr/>
          <p:nvPr/>
        </p:nvSpPr>
        <p:spPr>
          <a:xfrm>
            <a:off x="514536" y="1237129"/>
            <a:ext cx="11297359" cy="5351930"/>
          </a:xfrm>
          <a:prstGeom prst="roundRect">
            <a:avLst>
              <a:gd name="adj" fmla="val 0"/>
            </a:avLst>
          </a:prstGeom>
          <a:noFill/>
          <a:ln>
            <a:solidFill>
              <a:srgbClr val="BFBFB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4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2" name="Título 1">
            <a:extLst>
              <a:ext uri="{FF2B5EF4-FFF2-40B4-BE49-F238E27FC236}">
                <a16:creationId xmlns:a16="http://schemas.microsoft.com/office/drawing/2014/main" id="{95002FBC-5908-CFF2-9693-7E72911BD50B}"/>
              </a:ext>
            </a:extLst>
          </p:cNvPr>
          <p:cNvSpPr>
            <a:spLocks noGrp="1"/>
          </p:cNvSpPr>
          <p:nvPr>
            <p:ph type="title"/>
          </p:nvPr>
        </p:nvSpPr>
        <p:spPr/>
        <p:txBody>
          <a:bodyPr vert="horz"/>
          <a:lstStyle/>
          <a:p>
            <a:r>
              <a:rPr lang="es-CL" dirty="0"/>
              <a:t>Así </a:t>
            </a:r>
            <a:r>
              <a:rPr lang="es-ES" dirty="0"/>
              <a:t>finalizamos el proceso de definición</a:t>
            </a:r>
            <a:endParaRPr lang="es-CL" dirty="0"/>
          </a:p>
        </p:txBody>
      </p:sp>
      <p:sp>
        <p:nvSpPr>
          <p:cNvPr id="6" name="Rectángulo: esquinas redondeadas 5">
            <a:extLst>
              <a:ext uri="{FF2B5EF4-FFF2-40B4-BE49-F238E27FC236}">
                <a16:creationId xmlns:a16="http://schemas.microsoft.com/office/drawing/2014/main" id="{C7A1D62C-A4CE-4926-84B8-B5E2CCBBC7D1}"/>
              </a:ext>
            </a:extLst>
          </p:cNvPr>
          <p:cNvSpPr/>
          <p:nvPr/>
        </p:nvSpPr>
        <p:spPr>
          <a:xfrm>
            <a:off x="514537" y="756862"/>
            <a:ext cx="11297359" cy="394826"/>
          </a:xfrm>
          <a:prstGeom prst="roundRect">
            <a:avLst/>
          </a:prstGeom>
          <a:solidFill>
            <a:srgbClr val="1E1D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600" i="0" u="none" strike="noStrike" kern="1200" cap="none" spc="0" normalizeH="0" baseline="0" noProof="0" dirty="0">
              <a:ln>
                <a:noFill/>
              </a:ln>
              <a:solidFill>
                <a:prstClr val="white"/>
              </a:solidFill>
              <a:effectLst/>
              <a:uLnTx/>
              <a:uFillTx/>
              <a:latin typeface="Montserrat" panose="000005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L" i="0" u="none" strike="noStrike" kern="1200" cap="none" spc="0" normalizeH="0" baseline="0" noProof="0" dirty="0">
                <a:ln>
                  <a:noFill/>
                </a:ln>
                <a:solidFill>
                  <a:prstClr val="white"/>
                </a:solidFill>
                <a:effectLst/>
                <a:uLnTx/>
                <a:uFillTx/>
                <a:latin typeface="Montserrat" panose="00000500000000000000" pitchFamily="2" charset="0"/>
              </a:rPr>
              <a:t>Definición</a:t>
            </a:r>
            <a:r>
              <a:rPr kumimoji="0" lang="es-CL" sz="2000" i="0" u="none" strike="noStrike" kern="1200" cap="none" spc="0" normalizeH="0" baseline="0" noProof="0" dirty="0">
                <a:ln>
                  <a:noFill/>
                </a:ln>
                <a:solidFill>
                  <a:prstClr val="white"/>
                </a:solidFill>
                <a:effectLst/>
                <a:uLnTx/>
                <a:uFillTx/>
                <a:latin typeface="Montserrat" panose="00000500000000000000" pitchFamily="2" charset="0"/>
              </a:rPr>
              <a:t> de nuevas iniciativa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600" i="0" u="none" strike="noStrike" kern="1200" cap="none" spc="0" normalizeH="0" baseline="0" noProof="0" dirty="0">
              <a:ln>
                <a:noFill/>
              </a:ln>
              <a:solidFill>
                <a:prstClr val="white"/>
              </a:solidFill>
              <a:effectLst/>
              <a:uLnTx/>
              <a:uFillTx/>
              <a:latin typeface="Montserrat" panose="00000500000000000000" pitchFamily="2" charset="0"/>
            </a:endParaRPr>
          </a:p>
        </p:txBody>
      </p:sp>
      <p:grpSp>
        <p:nvGrpSpPr>
          <p:cNvPr id="7" name="Grupo 6">
            <a:extLst>
              <a:ext uri="{FF2B5EF4-FFF2-40B4-BE49-F238E27FC236}">
                <a16:creationId xmlns:a16="http://schemas.microsoft.com/office/drawing/2014/main" id="{08D90088-88AC-ED3C-493E-6CAD9252C511}"/>
              </a:ext>
            </a:extLst>
          </p:cNvPr>
          <p:cNvGrpSpPr/>
          <p:nvPr/>
        </p:nvGrpSpPr>
        <p:grpSpPr>
          <a:xfrm>
            <a:off x="5573270" y="4225241"/>
            <a:ext cx="1039387" cy="1087820"/>
            <a:chOff x="5612021" y="4027299"/>
            <a:chExt cx="829754" cy="811910"/>
          </a:xfrm>
        </p:grpSpPr>
        <p:sp>
          <p:nvSpPr>
            <p:cNvPr id="94" name="Elipse 93">
              <a:extLst>
                <a:ext uri="{FF2B5EF4-FFF2-40B4-BE49-F238E27FC236}">
                  <a16:creationId xmlns:a16="http://schemas.microsoft.com/office/drawing/2014/main" id="{763E7175-D018-9821-0EF1-27246BAA4D4B}"/>
                </a:ext>
              </a:extLst>
            </p:cNvPr>
            <p:cNvSpPr/>
            <p:nvPr/>
          </p:nvSpPr>
          <p:spPr>
            <a:xfrm>
              <a:off x="5612021" y="4027299"/>
              <a:ext cx="829754" cy="811910"/>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white"/>
                </a:solidFill>
                <a:effectLst/>
                <a:uLnTx/>
                <a:uFillTx/>
                <a:latin typeface="Montserrat" panose="00000500000000000000" pitchFamily="2" charset="0"/>
              </a:endParaRPr>
            </a:p>
          </p:txBody>
        </p:sp>
        <p:sp>
          <p:nvSpPr>
            <p:cNvPr id="117" name="Flecha: circular 116">
              <a:extLst>
                <a:ext uri="{FF2B5EF4-FFF2-40B4-BE49-F238E27FC236}">
                  <a16:creationId xmlns:a16="http://schemas.microsoft.com/office/drawing/2014/main" id="{EFFDAEBE-E680-AA6F-0FE1-A0A3AD4D63BE}"/>
                </a:ext>
              </a:extLst>
            </p:cNvPr>
            <p:cNvSpPr/>
            <p:nvPr/>
          </p:nvSpPr>
          <p:spPr>
            <a:xfrm rot="7470820">
              <a:off x="5924018" y="4256536"/>
              <a:ext cx="514235" cy="474818"/>
            </a:xfrm>
            <a:prstGeom prst="circularArrow">
              <a:avLst>
                <a:gd name="adj1" fmla="val 0"/>
                <a:gd name="adj2" fmla="val 1769214"/>
                <a:gd name="adj3" fmla="val 17765874"/>
                <a:gd name="adj4" fmla="val 10800000"/>
                <a:gd name="adj5" fmla="val 12500"/>
              </a:avLst>
            </a:prstGeom>
            <a:solidFill>
              <a:schemeClr val="bg1">
                <a:lumMod val="75000"/>
              </a:schemeClr>
            </a:solidFill>
            <a:ln>
              <a:solidFill>
                <a:schemeClr val="bg1">
                  <a:lumMod val="6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black"/>
                </a:solidFill>
                <a:effectLst/>
                <a:uLnTx/>
                <a:uFillTx/>
                <a:latin typeface="Montserrat" panose="00000500000000000000" pitchFamily="2" charset="0"/>
              </a:endParaRPr>
            </a:p>
          </p:txBody>
        </p:sp>
        <p:sp>
          <p:nvSpPr>
            <p:cNvPr id="118" name="Flecha: circular 117">
              <a:extLst>
                <a:ext uri="{FF2B5EF4-FFF2-40B4-BE49-F238E27FC236}">
                  <a16:creationId xmlns:a16="http://schemas.microsoft.com/office/drawing/2014/main" id="{52CA2F90-71A0-9972-313B-E769A4DBD7BA}"/>
                </a:ext>
              </a:extLst>
            </p:cNvPr>
            <p:cNvSpPr/>
            <p:nvPr/>
          </p:nvSpPr>
          <p:spPr>
            <a:xfrm rot="14909595">
              <a:off x="5665298" y="4288298"/>
              <a:ext cx="514235" cy="474818"/>
            </a:xfrm>
            <a:prstGeom prst="circularArrow">
              <a:avLst>
                <a:gd name="adj1" fmla="val 0"/>
                <a:gd name="adj2" fmla="val 1769214"/>
                <a:gd name="adj3" fmla="val 17765874"/>
                <a:gd name="adj4" fmla="val 10800000"/>
                <a:gd name="adj5" fmla="val 12500"/>
              </a:avLst>
            </a:prstGeom>
            <a:solidFill>
              <a:srgbClr val="D9D9D9"/>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black"/>
                </a:solidFill>
                <a:effectLst/>
                <a:uLnTx/>
                <a:uFillTx/>
                <a:latin typeface="Montserrat" panose="00000500000000000000" pitchFamily="2" charset="0"/>
              </a:endParaRPr>
            </a:p>
          </p:txBody>
        </p:sp>
        <p:sp>
          <p:nvSpPr>
            <p:cNvPr id="119" name="Flecha: circular 118">
              <a:extLst>
                <a:ext uri="{FF2B5EF4-FFF2-40B4-BE49-F238E27FC236}">
                  <a16:creationId xmlns:a16="http://schemas.microsoft.com/office/drawing/2014/main" id="{2D7EA814-03DE-0345-4730-A824E3BC2707}"/>
                </a:ext>
              </a:extLst>
            </p:cNvPr>
            <p:cNvSpPr/>
            <p:nvPr/>
          </p:nvSpPr>
          <p:spPr>
            <a:xfrm rot="1236295">
              <a:off x="5736382" y="4058037"/>
              <a:ext cx="525537" cy="464607"/>
            </a:xfrm>
            <a:prstGeom prst="circularArrow">
              <a:avLst>
                <a:gd name="adj1" fmla="val 0"/>
                <a:gd name="adj2" fmla="val 1769214"/>
                <a:gd name="adj3" fmla="val 17765874"/>
                <a:gd name="adj4" fmla="val 10800000"/>
                <a:gd name="adj5" fmla="val 12500"/>
              </a:avLst>
            </a:prstGeom>
            <a:solidFill>
              <a:schemeClr val="bg1">
                <a:lumMod val="95000"/>
              </a:schemeClr>
            </a:solidFill>
            <a:ln>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black"/>
                </a:solidFill>
                <a:effectLst/>
                <a:uLnTx/>
                <a:uFillTx/>
                <a:latin typeface="Montserrat" panose="00000500000000000000" pitchFamily="2" charset="0"/>
              </a:endParaRPr>
            </a:p>
          </p:txBody>
        </p:sp>
      </p:grpSp>
      <p:sp>
        <p:nvSpPr>
          <p:cNvPr id="33" name="Flecha: circular 32">
            <a:extLst>
              <a:ext uri="{FF2B5EF4-FFF2-40B4-BE49-F238E27FC236}">
                <a16:creationId xmlns:a16="http://schemas.microsoft.com/office/drawing/2014/main" id="{CEF57471-20A5-6DE3-ABE6-566BCCE20E90}"/>
              </a:ext>
            </a:extLst>
          </p:cNvPr>
          <p:cNvSpPr/>
          <p:nvPr/>
        </p:nvSpPr>
        <p:spPr>
          <a:xfrm>
            <a:off x="8007883" y="4804354"/>
            <a:ext cx="1082241" cy="1104527"/>
          </a:xfrm>
          <a:prstGeom prst="circularArrow">
            <a:avLst>
              <a:gd name="adj1" fmla="val 12500"/>
              <a:gd name="adj2" fmla="val 1142319"/>
              <a:gd name="adj3" fmla="val 20457681"/>
              <a:gd name="adj4" fmla="val 14373796"/>
              <a:gd name="adj5" fmla="val 12500"/>
            </a:avLst>
          </a:prstGeom>
          <a:solidFill>
            <a:srgbClr val="1E1D26"/>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L" sz="1800" b="0" i="0" u="none" strike="noStrike" kern="1200" cap="none" spc="0" normalizeH="0" baseline="0" noProof="0">
              <a:ln>
                <a:noFill/>
              </a:ln>
              <a:solidFill>
                <a:prstClr val="black"/>
              </a:solidFill>
              <a:effectLst/>
              <a:uLnTx/>
              <a:uFillTx/>
              <a:latin typeface="Montserrat" panose="00000500000000000000" pitchFamily="2" charset="0"/>
            </a:endParaRPr>
          </a:p>
        </p:txBody>
      </p:sp>
    </p:spTree>
    <p:extLst>
      <p:ext uri="{BB962C8B-B14F-4D97-AF65-F5344CB8AC3E}">
        <p14:creationId xmlns:p14="http://schemas.microsoft.com/office/powerpoint/2010/main" val="348100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CE6CA1-7208-0BE0-B600-8D3B82347EC6}"/>
              </a:ext>
            </a:extLst>
          </p:cNvPr>
          <p:cNvGraphicFramePr>
            <a:graphicFrameLocks noChangeAspect="1"/>
          </p:cNvGraphicFramePr>
          <p:nvPr>
            <p:custDataLst>
              <p:tags r:id="rId2"/>
            </p:custDataLst>
            <p:extLst>
              <p:ext uri="{D42A27DB-BD31-4B8C-83A1-F6EECF244321}">
                <p14:modId xmlns:p14="http://schemas.microsoft.com/office/powerpoint/2010/main" val="1619796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Diapositiva de think-cell" r:id="rId4" imgW="404" imgH="405" progId="TCLayout.ActiveDocument.1">
                  <p:embed/>
                </p:oleObj>
              </mc:Choice>
              <mc:Fallback>
                <p:oleObj name="Diapositiva de think-cell" r:id="rId4" imgW="404" imgH="405" progId="TCLayout.ActiveDocument.1">
                  <p:embed/>
                  <p:pic>
                    <p:nvPicPr>
                      <p:cNvPr id="5" name="think-cell data - do not delete" hidden="1">
                        <a:extLst>
                          <a:ext uri="{FF2B5EF4-FFF2-40B4-BE49-F238E27FC236}">
                            <a16:creationId xmlns:a16="http://schemas.microsoft.com/office/drawing/2014/main" id="{F9CE6CA1-7208-0BE0-B600-8D3B82347E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4E28C10-BF50-2EAE-AE0C-B5973A082992}"/>
              </a:ext>
            </a:extLst>
          </p:cNvPr>
          <p:cNvSpPr>
            <a:spLocks noGrp="1"/>
          </p:cNvSpPr>
          <p:nvPr>
            <p:ph type="title"/>
          </p:nvPr>
        </p:nvSpPr>
        <p:spPr/>
        <p:txBody>
          <a:bodyPr vert="horz"/>
          <a:lstStyle/>
          <a:p>
            <a:r>
              <a:rPr lang="es-ES" dirty="0"/>
              <a:t>Se concluye en tres ejes de trabajo y ocho categorías</a:t>
            </a:r>
          </a:p>
        </p:txBody>
      </p:sp>
      <p:sp>
        <p:nvSpPr>
          <p:cNvPr id="6" name="Rectángulo: esquinas redondeadas 5">
            <a:extLst>
              <a:ext uri="{FF2B5EF4-FFF2-40B4-BE49-F238E27FC236}">
                <a16:creationId xmlns:a16="http://schemas.microsoft.com/office/drawing/2014/main" id="{DE25FF13-7D5A-A412-7F45-7831DD6037AF}"/>
              </a:ext>
            </a:extLst>
          </p:cNvPr>
          <p:cNvSpPr/>
          <p:nvPr/>
        </p:nvSpPr>
        <p:spPr>
          <a:xfrm>
            <a:off x="396071" y="4644634"/>
            <a:ext cx="3021641" cy="1404000"/>
          </a:xfrm>
          <a:prstGeom prst="roundRect">
            <a:avLst>
              <a:gd name="adj" fmla="val 1770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s-CL">
              <a:solidFill>
                <a:prstClr val="white"/>
              </a:solidFill>
              <a:latin typeface="Montserrat" panose="00000500000000000000" pitchFamily="2" charset="0"/>
            </a:endParaRPr>
          </a:p>
        </p:txBody>
      </p:sp>
      <p:sp>
        <p:nvSpPr>
          <p:cNvPr id="7" name="Rectángulo: esquinas redondeadas 6">
            <a:extLst>
              <a:ext uri="{FF2B5EF4-FFF2-40B4-BE49-F238E27FC236}">
                <a16:creationId xmlns:a16="http://schemas.microsoft.com/office/drawing/2014/main" id="{5B74ABB0-7389-C27E-E75C-9496E71E562A}"/>
              </a:ext>
            </a:extLst>
          </p:cNvPr>
          <p:cNvSpPr/>
          <p:nvPr/>
        </p:nvSpPr>
        <p:spPr>
          <a:xfrm>
            <a:off x="360217" y="2936689"/>
            <a:ext cx="3021641" cy="1404000"/>
          </a:xfrm>
          <a:prstGeom prst="roundRect">
            <a:avLst>
              <a:gd name="adj" fmla="val 1770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s-CL">
              <a:solidFill>
                <a:prstClr val="white"/>
              </a:solidFill>
              <a:latin typeface="Montserrat" panose="00000500000000000000" pitchFamily="2" charset="0"/>
            </a:endParaRPr>
          </a:p>
        </p:txBody>
      </p:sp>
      <p:grpSp>
        <p:nvGrpSpPr>
          <p:cNvPr id="22" name="Grupo 21">
            <a:extLst>
              <a:ext uri="{FF2B5EF4-FFF2-40B4-BE49-F238E27FC236}">
                <a16:creationId xmlns:a16="http://schemas.microsoft.com/office/drawing/2014/main" id="{BA829B7B-AE2B-7B1D-6532-F03428AA506C}"/>
              </a:ext>
            </a:extLst>
          </p:cNvPr>
          <p:cNvGrpSpPr/>
          <p:nvPr/>
        </p:nvGrpSpPr>
        <p:grpSpPr>
          <a:xfrm>
            <a:off x="975713" y="4898555"/>
            <a:ext cx="2213051" cy="1075267"/>
            <a:chOff x="5963028" y="2544472"/>
            <a:chExt cx="1282236" cy="899843"/>
          </a:xfrm>
        </p:grpSpPr>
        <p:sp>
          <p:nvSpPr>
            <p:cNvPr id="23" name="Rectángulo 22">
              <a:extLst>
                <a:ext uri="{FF2B5EF4-FFF2-40B4-BE49-F238E27FC236}">
                  <a16:creationId xmlns:a16="http://schemas.microsoft.com/office/drawing/2014/main" id="{FF0BD0A3-EB24-C2C4-0DB4-8909DCB5D2D8}"/>
                </a:ext>
              </a:extLst>
            </p:cNvPr>
            <p:cNvSpPr/>
            <p:nvPr/>
          </p:nvSpPr>
          <p:spPr>
            <a:xfrm>
              <a:off x="6010732" y="2552807"/>
              <a:ext cx="1196567" cy="89150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defRPr/>
              </a:pPr>
              <a:r>
                <a:rPr lang="es-MX" sz="2400" b="1">
                  <a:solidFill>
                    <a:prstClr val="black">
                      <a:lumMod val="65000"/>
                      <a:lumOff val="35000"/>
                    </a:prstClr>
                  </a:solidFill>
                  <a:latin typeface="Montserrat" panose="00000500000000000000" pitchFamily="2" charset="0"/>
                </a:rPr>
                <a:t>  10</a:t>
              </a:r>
              <a:r>
                <a:rPr lang="es-MX" sz="2400">
                  <a:solidFill>
                    <a:prstClr val="black">
                      <a:lumMod val="65000"/>
                      <a:lumOff val="35000"/>
                    </a:prstClr>
                  </a:solidFill>
                  <a:latin typeface="Montserrat" panose="00000500000000000000" pitchFamily="2" charset="0"/>
                </a:rPr>
                <a:t> </a:t>
              </a:r>
              <a:r>
                <a:rPr lang="es-MX" sz="1600" b="1">
                  <a:solidFill>
                    <a:prstClr val="black">
                      <a:lumMod val="65000"/>
                      <a:lumOff val="35000"/>
                    </a:prstClr>
                  </a:solidFill>
                  <a:latin typeface="Montserrat" panose="00000500000000000000" pitchFamily="2" charset="0"/>
                </a:rPr>
                <a:t>años  </a:t>
              </a:r>
            </a:p>
          </p:txBody>
        </p:sp>
        <p:sp>
          <p:nvSpPr>
            <p:cNvPr id="24" name="Rectángulo 23">
              <a:extLst>
                <a:ext uri="{FF2B5EF4-FFF2-40B4-BE49-F238E27FC236}">
                  <a16:creationId xmlns:a16="http://schemas.microsoft.com/office/drawing/2014/main" id="{22798F30-F615-4F7F-83E7-76CAAC95C38A}"/>
                </a:ext>
              </a:extLst>
            </p:cNvPr>
            <p:cNvSpPr/>
            <p:nvPr/>
          </p:nvSpPr>
          <p:spPr>
            <a:xfrm>
              <a:off x="5963028" y="2544472"/>
              <a:ext cx="1282236" cy="28770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defRPr/>
              </a:pPr>
              <a:r>
                <a:rPr lang="es-CL" sz="2000" b="1" dirty="0">
                  <a:solidFill>
                    <a:schemeClr val="tx1"/>
                  </a:solidFill>
                  <a:latin typeface="Montserrat" panose="00000500000000000000" pitchFamily="2" charset="0"/>
                </a:rPr>
                <a:t>    Plazo</a:t>
              </a:r>
            </a:p>
          </p:txBody>
        </p:sp>
      </p:grpSp>
      <p:grpSp>
        <p:nvGrpSpPr>
          <p:cNvPr id="25" name="Grupo 24">
            <a:extLst>
              <a:ext uri="{FF2B5EF4-FFF2-40B4-BE49-F238E27FC236}">
                <a16:creationId xmlns:a16="http://schemas.microsoft.com/office/drawing/2014/main" id="{B8B908FE-0962-2AA5-DF29-71ACB236BC18}"/>
              </a:ext>
            </a:extLst>
          </p:cNvPr>
          <p:cNvGrpSpPr/>
          <p:nvPr/>
        </p:nvGrpSpPr>
        <p:grpSpPr>
          <a:xfrm>
            <a:off x="727730" y="3094769"/>
            <a:ext cx="2360703" cy="1091055"/>
            <a:chOff x="7376319" y="1061104"/>
            <a:chExt cx="2334603" cy="872283"/>
          </a:xfrm>
        </p:grpSpPr>
        <p:grpSp>
          <p:nvGrpSpPr>
            <p:cNvPr id="26" name="Grupo 25">
              <a:extLst>
                <a:ext uri="{FF2B5EF4-FFF2-40B4-BE49-F238E27FC236}">
                  <a16:creationId xmlns:a16="http://schemas.microsoft.com/office/drawing/2014/main" id="{4B02DFE1-60DC-F4BF-5F7E-EFD192F5BFAB}"/>
                </a:ext>
              </a:extLst>
            </p:cNvPr>
            <p:cNvGrpSpPr/>
            <p:nvPr/>
          </p:nvGrpSpPr>
          <p:grpSpPr>
            <a:xfrm>
              <a:off x="7740608" y="1061104"/>
              <a:ext cx="1970314" cy="872283"/>
              <a:chOff x="7116669" y="1107966"/>
              <a:chExt cx="1970314" cy="872283"/>
            </a:xfrm>
          </p:grpSpPr>
          <p:sp>
            <p:nvSpPr>
              <p:cNvPr id="28" name="Rectángulo 27">
                <a:extLst>
                  <a:ext uri="{FF2B5EF4-FFF2-40B4-BE49-F238E27FC236}">
                    <a16:creationId xmlns:a16="http://schemas.microsoft.com/office/drawing/2014/main" id="{3F8A696E-7459-02EB-A48C-8A5ACE05EA83}"/>
                  </a:ext>
                </a:extLst>
              </p:cNvPr>
              <p:cNvSpPr/>
              <p:nvPr/>
            </p:nvSpPr>
            <p:spPr>
              <a:xfrm>
                <a:off x="7116669" y="1163381"/>
                <a:ext cx="1966479" cy="81686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defRPr/>
                </a:pPr>
                <a:endParaRPr lang="es-MX" sz="2000" b="1">
                  <a:solidFill>
                    <a:prstClr val="black">
                      <a:lumMod val="65000"/>
                      <a:lumOff val="35000"/>
                    </a:prstClr>
                  </a:solidFill>
                  <a:latin typeface="Montserrat" panose="00000500000000000000" pitchFamily="2" charset="0"/>
                </a:endParaRPr>
              </a:p>
              <a:p>
                <a:pPr algn="ctr" defTabSz="914377">
                  <a:defRPr/>
                </a:pPr>
                <a:r>
                  <a:rPr lang="es-MX" sz="2400" b="1">
                    <a:solidFill>
                      <a:prstClr val="black">
                        <a:lumMod val="65000"/>
                        <a:lumOff val="35000"/>
                      </a:prstClr>
                    </a:solidFill>
                    <a:latin typeface="Montserrat" panose="00000500000000000000" pitchFamily="2" charset="0"/>
                  </a:rPr>
                  <a:t>1.309 </a:t>
                </a:r>
              </a:p>
              <a:p>
                <a:pPr algn="ctr" defTabSz="914377">
                  <a:defRPr/>
                </a:pPr>
                <a:r>
                  <a:rPr lang="es-MX" sz="1100" b="1">
                    <a:solidFill>
                      <a:prstClr val="black">
                        <a:lumMod val="65000"/>
                        <a:lumOff val="35000"/>
                      </a:prstClr>
                    </a:solidFill>
                    <a:latin typeface="Montserrat" panose="00000500000000000000" pitchFamily="2" charset="0"/>
                  </a:rPr>
                  <a:t>MMUSD</a:t>
                </a:r>
                <a:r>
                  <a:rPr lang="es-MX" sz="1600" b="1">
                    <a:solidFill>
                      <a:prstClr val="black">
                        <a:lumMod val="65000"/>
                        <a:lumOff val="35000"/>
                      </a:prstClr>
                    </a:solidFill>
                    <a:latin typeface="Montserrat" panose="00000500000000000000" pitchFamily="2" charset="0"/>
                  </a:rPr>
                  <a:t> </a:t>
                </a:r>
              </a:p>
            </p:txBody>
          </p:sp>
          <p:sp>
            <p:nvSpPr>
              <p:cNvPr id="29" name="Rectángulo 28">
                <a:extLst>
                  <a:ext uri="{FF2B5EF4-FFF2-40B4-BE49-F238E27FC236}">
                    <a16:creationId xmlns:a16="http://schemas.microsoft.com/office/drawing/2014/main" id="{9AF953AD-20C2-FF0D-47BD-BD2B621F6F21}"/>
                  </a:ext>
                </a:extLst>
              </p:cNvPr>
              <p:cNvSpPr/>
              <p:nvPr/>
            </p:nvSpPr>
            <p:spPr>
              <a:xfrm>
                <a:off x="7235679" y="1107966"/>
                <a:ext cx="1851304" cy="2252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defRPr/>
                </a:pPr>
                <a:r>
                  <a:rPr lang="es-CL" sz="2000" b="1" dirty="0">
                    <a:solidFill>
                      <a:schemeClr val="tx1"/>
                    </a:solidFill>
                    <a:latin typeface="Montserrat" panose="00000500000000000000" pitchFamily="2" charset="0"/>
                  </a:rPr>
                  <a:t>Presupuesto</a:t>
                </a:r>
              </a:p>
            </p:txBody>
          </p:sp>
        </p:grpSp>
        <p:pic>
          <p:nvPicPr>
            <p:cNvPr id="27" name="Picture 4" descr="Image result for budget icon">
              <a:extLst>
                <a:ext uri="{FF2B5EF4-FFF2-40B4-BE49-F238E27FC236}">
                  <a16:creationId xmlns:a16="http://schemas.microsoft.com/office/drawing/2014/main" id="{CCC548A4-D8C8-6159-6C8E-B8D0C7E544D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376319" y="1264311"/>
              <a:ext cx="521286" cy="521287"/>
            </a:xfrm>
            <a:prstGeom prst="rect">
              <a:avLst/>
            </a:prstGeom>
            <a:solidFill>
              <a:schemeClr val="bg1">
                <a:lumMod val="95000"/>
              </a:schemeClr>
            </a:solidFill>
            <a:ln>
              <a:solidFill>
                <a:schemeClr val="bg1">
                  <a:lumMod val="95000"/>
                </a:schemeClr>
              </a:solidFill>
            </a:ln>
          </p:spPr>
        </p:pic>
      </p:grpSp>
      <p:pic>
        <p:nvPicPr>
          <p:cNvPr id="30" name="Picture 2" descr="Image result for calendar png icon">
            <a:extLst>
              <a:ext uri="{FF2B5EF4-FFF2-40B4-BE49-F238E27FC236}">
                <a16:creationId xmlns:a16="http://schemas.microsoft.com/office/drawing/2014/main" id="{82971D77-BACD-F3D3-4506-5934B5AFC19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27729" y="4982398"/>
            <a:ext cx="588864" cy="622827"/>
          </a:xfrm>
          <a:prstGeom prst="rect">
            <a:avLst/>
          </a:prstGeom>
          <a:solidFill>
            <a:schemeClr val="bg1">
              <a:lumMod val="95000"/>
            </a:schemeClr>
          </a:solidFill>
          <a:ln>
            <a:noFill/>
          </a:ln>
        </p:spPr>
      </p:pic>
      <p:sp>
        <p:nvSpPr>
          <p:cNvPr id="34" name="Rectángulo: esquinas redondeadas 33">
            <a:extLst>
              <a:ext uri="{FF2B5EF4-FFF2-40B4-BE49-F238E27FC236}">
                <a16:creationId xmlns:a16="http://schemas.microsoft.com/office/drawing/2014/main" id="{2A145E88-2EDC-6C5C-C44D-52813BAD32D8}"/>
              </a:ext>
            </a:extLst>
          </p:cNvPr>
          <p:cNvSpPr/>
          <p:nvPr/>
        </p:nvSpPr>
        <p:spPr>
          <a:xfrm>
            <a:off x="300843" y="1285487"/>
            <a:ext cx="3081015" cy="1378672"/>
          </a:xfrm>
          <a:prstGeom prst="roundRect">
            <a:avLst>
              <a:gd name="adj" fmla="val 1770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s-CL" sz="1467">
              <a:solidFill>
                <a:prstClr val="white"/>
              </a:solidFill>
              <a:latin typeface="Montserrat" panose="00000500000000000000" pitchFamily="2" charset="0"/>
            </a:endParaRPr>
          </a:p>
        </p:txBody>
      </p:sp>
      <p:sp>
        <p:nvSpPr>
          <p:cNvPr id="35" name="Rectángulo 34">
            <a:extLst>
              <a:ext uri="{FF2B5EF4-FFF2-40B4-BE49-F238E27FC236}">
                <a16:creationId xmlns:a16="http://schemas.microsoft.com/office/drawing/2014/main" id="{0F1EB641-E8F3-CB15-C730-F0F3E1B9F13B}"/>
              </a:ext>
            </a:extLst>
          </p:cNvPr>
          <p:cNvSpPr/>
          <p:nvPr/>
        </p:nvSpPr>
        <p:spPr>
          <a:xfrm>
            <a:off x="334874" y="1285487"/>
            <a:ext cx="3050336" cy="137867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defRPr/>
            </a:pPr>
            <a:r>
              <a:rPr lang="es-MX" sz="1867" dirty="0">
                <a:solidFill>
                  <a:prstClr val="black">
                    <a:lumMod val="65000"/>
                    <a:lumOff val="35000"/>
                  </a:prstClr>
                </a:solidFill>
                <a:latin typeface="Montserrat" panose="00000500000000000000" pitchFamily="2" charset="0"/>
              </a:rPr>
              <a:t>Implementar el estándar del Metro del futuro en líneas convencionales</a:t>
            </a:r>
          </a:p>
        </p:txBody>
      </p:sp>
      <p:pic>
        <p:nvPicPr>
          <p:cNvPr id="37" name="Imagen 36">
            <a:extLst>
              <a:ext uri="{FF2B5EF4-FFF2-40B4-BE49-F238E27FC236}">
                <a16:creationId xmlns:a16="http://schemas.microsoft.com/office/drawing/2014/main" id="{764DCEE6-9155-82A4-7CCC-5475BA044B3D}"/>
              </a:ext>
            </a:extLst>
          </p:cNvPr>
          <p:cNvPicPr>
            <a:picLocks noChangeAspect="1"/>
          </p:cNvPicPr>
          <p:nvPr/>
        </p:nvPicPr>
        <p:blipFill>
          <a:blip r:embed="rId8"/>
          <a:stretch>
            <a:fillRect/>
          </a:stretch>
        </p:blipFill>
        <p:spPr>
          <a:xfrm>
            <a:off x="9566138" y="502721"/>
            <a:ext cx="2625862" cy="6355279"/>
          </a:xfrm>
          <a:prstGeom prst="rect">
            <a:avLst/>
          </a:prstGeom>
        </p:spPr>
      </p:pic>
      <p:grpSp>
        <p:nvGrpSpPr>
          <p:cNvPr id="53" name="Grupo 52">
            <a:extLst>
              <a:ext uri="{FF2B5EF4-FFF2-40B4-BE49-F238E27FC236}">
                <a16:creationId xmlns:a16="http://schemas.microsoft.com/office/drawing/2014/main" id="{1A42AD1D-C6C3-32BF-ADE0-67AF19F47F47}"/>
              </a:ext>
            </a:extLst>
          </p:cNvPr>
          <p:cNvGrpSpPr/>
          <p:nvPr/>
        </p:nvGrpSpPr>
        <p:grpSpPr>
          <a:xfrm>
            <a:off x="3649330" y="1304813"/>
            <a:ext cx="5780502" cy="804166"/>
            <a:chOff x="3649330" y="1304813"/>
            <a:chExt cx="5780502" cy="804166"/>
          </a:xfrm>
        </p:grpSpPr>
        <p:sp>
          <p:nvSpPr>
            <p:cNvPr id="9" name="Rectángulo: esquinas redondeadas 8">
              <a:extLst>
                <a:ext uri="{FF2B5EF4-FFF2-40B4-BE49-F238E27FC236}">
                  <a16:creationId xmlns:a16="http://schemas.microsoft.com/office/drawing/2014/main" id="{936F9460-CBDF-79C4-2241-88F551E69960}"/>
                </a:ext>
              </a:extLst>
            </p:cNvPr>
            <p:cNvSpPr/>
            <p:nvPr/>
          </p:nvSpPr>
          <p:spPr>
            <a:xfrm>
              <a:off x="3649330" y="1304813"/>
              <a:ext cx="1445589" cy="802796"/>
            </a:xfrm>
            <a:prstGeom prst="roundRect">
              <a:avLst>
                <a:gd name="adj" fmla="val 21328"/>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b"/>
            <a:lstStyle/>
            <a:p>
              <a:pPr algn="ctr" defTabSz="914377" fontAlgn="b">
                <a:defRPr/>
              </a:pPr>
              <a:r>
                <a:rPr lang="es-CL" sz="1400" b="1">
                  <a:solidFill>
                    <a:prstClr val="black">
                      <a:lumMod val="65000"/>
                      <a:lumOff val="35000"/>
                    </a:prstClr>
                  </a:solidFill>
                  <a:latin typeface="Montserrat" panose="00000500000000000000" pitchFamily="2" charset="0"/>
                </a:rPr>
                <a:t>Trabajadores</a:t>
              </a:r>
            </a:p>
          </p:txBody>
        </p:sp>
        <p:sp>
          <p:nvSpPr>
            <p:cNvPr id="13" name="Rectángulo: esquinas redondeadas 12">
              <a:extLst>
                <a:ext uri="{FF2B5EF4-FFF2-40B4-BE49-F238E27FC236}">
                  <a16:creationId xmlns:a16="http://schemas.microsoft.com/office/drawing/2014/main" id="{D66C96E1-03F4-0A7C-8ADB-F04854ED9F7E}"/>
                </a:ext>
              </a:extLst>
            </p:cNvPr>
            <p:cNvSpPr/>
            <p:nvPr/>
          </p:nvSpPr>
          <p:spPr>
            <a:xfrm>
              <a:off x="5271249" y="1306183"/>
              <a:ext cx="4158583" cy="802796"/>
            </a:xfrm>
            <a:prstGeom prst="roundRect">
              <a:avLst>
                <a:gd name="adj" fmla="val 17704"/>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s-CL" sz="1400" b="1" u="none" strike="noStrike" dirty="0">
                <a:solidFill>
                  <a:schemeClr val="tx1">
                    <a:lumMod val="75000"/>
                    <a:lumOff val="25000"/>
                  </a:schemeClr>
                </a:solidFill>
                <a:effectLst/>
                <a:latin typeface="Montserrat" panose="00000500000000000000" pitchFamily="2" charset="0"/>
              </a:endParaRPr>
            </a:p>
          </p:txBody>
        </p:sp>
        <p:sp>
          <p:nvSpPr>
            <p:cNvPr id="14" name="Elipse 13">
              <a:hlinkClick r:id="" action="ppaction://noaction"/>
              <a:extLst>
                <a:ext uri="{FF2B5EF4-FFF2-40B4-BE49-F238E27FC236}">
                  <a16:creationId xmlns:a16="http://schemas.microsoft.com/office/drawing/2014/main" id="{82AAC73C-4FB2-5700-3CD7-5C5BD6AB994A}"/>
                </a:ext>
              </a:extLst>
            </p:cNvPr>
            <p:cNvSpPr/>
            <p:nvPr/>
          </p:nvSpPr>
          <p:spPr>
            <a:xfrm>
              <a:off x="5349804" y="1501643"/>
              <a:ext cx="360000" cy="3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s-CL" b="1" dirty="0">
                  <a:solidFill>
                    <a:prstClr val="white"/>
                  </a:solidFill>
                  <a:latin typeface="Montserrat" panose="00000500000000000000" pitchFamily="2" charset="0"/>
                </a:rPr>
                <a:t>1</a:t>
              </a:r>
            </a:p>
          </p:txBody>
        </p:sp>
        <p:pic>
          <p:nvPicPr>
            <p:cNvPr id="32" name="Gráfico 31" descr="Mujer trabajadora de la construcción con relleno sólido">
              <a:extLst>
                <a:ext uri="{FF2B5EF4-FFF2-40B4-BE49-F238E27FC236}">
                  <a16:creationId xmlns:a16="http://schemas.microsoft.com/office/drawing/2014/main" id="{1B4BEB93-3E34-D667-1A2C-5AB1994590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4102573" y="1336480"/>
              <a:ext cx="559857" cy="559857"/>
            </a:xfrm>
            <a:prstGeom prst="rect">
              <a:avLst/>
            </a:prstGeom>
          </p:spPr>
        </p:pic>
        <p:sp>
          <p:nvSpPr>
            <p:cNvPr id="44" name="CuadroTexto 43">
              <a:extLst>
                <a:ext uri="{FF2B5EF4-FFF2-40B4-BE49-F238E27FC236}">
                  <a16:creationId xmlns:a16="http://schemas.microsoft.com/office/drawing/2014/main" id="{12B7577A-0A46-EB3D-62BA-8C89B0CF4A34}"/>
                </a:ext>
              </a:extLst>
            </p:cNvPr>
            <p:cNvSpPr txBox="1"/>
            <p:nvPr/>
          </p:nvSpPr>
          <p:spPr>
            <a:xfrm>
              <a:off x="5702275" y="1434852"/>
              <a:ext cx="3662992" cy="523220"/>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CL" sz="1400" b="1" i="0" u="none" strike="noStrike" kern="1200" cap="none" spc="0" normalizeH="0" baseline="0" noProof="0" dirty="0">
                  <a:ln>
                    <a:noFill/>
                  </a:ln>
                  <a:solidFill>
                    <a:srgbClr val="000000">
                      <a:lumMod val="75000"/>
                      <a:lumOff val="25000"/>
                    </a:srgbClr>
                  </a:solidFill>
                  <a:effectLst/>
                  <a:uLnTx/>
                  <a:uFillTx/>
                  <a:latin typeface="Montserrat" panose="00000500000000000000" pitchFamily="2" charset="0"/>
                  <a:ea typeface="+mn-ea"/>
                  <a:cs typeface="+mn-cs"/>
                </a:rPr>
                <a:t>Estandarización de dependencias de trabajadores</a:t>
              </a:r>
            </a:p>
          </p:txBody>
        </p:sp>
      </p:grpSp>
      <p:grpSp>
        <p:nvGrpSpPr>
          <p:cNvPr id="54" name="Grupo 53">
            <a:extLst>
              <a:ext uri="{FF2B5EF4-FFF2-40B4-BE49-F238E27FC236}">
                <a16:creationId xmlns:a16="http://schemas.microsoft.com/office/drawing/2014/main" id="{CC65B546-469E-E17D-D006-5DF31BC5B8ED}"/>
              </a:ext>
            </a:extLst>
          </p:cNvPr>
          <p:cNvGrpSpPr/>
          <p:nvPr/>
        </p:nvGrpSpPr>
        <p:grpSpPr>
          <a:xfrm>
            <a:off x="3627467" y="2170444"/>
            <a:ext cx="5802363" cy="2212232"/>
            <a:chOff x="3627467" y="2170444"/>
            <a:chExt cx="5802363" cy="2212232"/>
          </a:xfrm>
        </p:grpSpPr>
        <p:sp>
          <p:nvSpPr>
            <p:cNvPr id="10" name="Rectángulo: esquinas redondeadas 9">
              <a:extLst>
                <a:ext uri="{FF2B5EF4-FFF2-40B4-BE49-F238E27FC236}">
                  <a16:creationId xmlns:a16="http://schemas.microsoft.com/office/drawing/2014/main" id="{9F18439D-73EC-D9AC-4D79-752FF9E16D3C}"/>
                </a:ext>
              </a:extLst>
            </p:cNvPr>
            <p:cNvSpPr/>
            <p:nvPr/>
          </p:nvSpPr>
          <p:spPr>
            <a:xfrm>
              <a:off x="3627467" y="2170444"/>
              <a:ext cx="1494309" cy="2191735"/>
            </a:xfrm>
            <a:prstGeom prst="roundRect">
              <a:avLst>
                <a:gd name="adj" fmla="val 18229"/>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b"/>
            <a:lstStyle/>
            <a:p>
              <a:pPr algn="ctr" defTabSz="914377" fontAlgn="b">
                <a:defRPr/>
              </a:pPr>
              <a:r>
                <a:rPr lang="es-CL" sz="1400" b="1">
                  <a:solidFill>
                    <a:prstClr val="black">
                      <a:lumMod val="65000"/>
                      <a:lumOff val="35000"/>
                    </a:prstClr>
                  </a:solidFill>
                  <a:latin typeface="Montserrat" panose="00000500000000000000" pitchFamily="2" charset="0"/>
                </a:rPr>
                <a:t>Experiencia de cliente</a:t>
              </a:r>
            </a:p>
          </p:txBody>
        </p:sp>
        <p:sp>
          <p:nvSpPr>
            <p:cNvPr id="12" name="Rectángulo: esquinas redondeadas 11">
              <a:extLst>
                <a:ext uri="{FF2B5EF4-FFF2-40B4-BE49-F238E27FC236}">
                  <a16:creationId xmlns:a16="http://schemas.microsoft.com/office/drawing/2014/main" id="{80FE30E6-2301-F9B6-7B9C-06628B71F1E4}"/>
                </a:ext>
              </a:extLst>
            </p:cNvPr>
            <p:cNvSpPr/>
            <p:nvPr/>
          </p:nvSpPr>
          <p:spPr>
            <a:xfrm>
              <a:off x="5271247" y="2170444"/>
              <a:ext cx="4158583" cy="2191735"/>
            </a:xfrm>
            <a:prstGeom prst="roundRect">
              <a:avLst>
                <a:gd name="adj" fmla="val 8178"/>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algn="l" rtl="0" eaLnBrk="1" fontAlgn="b" latinLnBrk="0" hangingPunct="1"/>
              <a:endParaRPr lang="es-CL" sz="2400" b="0" i="0" u="none" strike="noStrike" dirty="0">
                <a:effectLst/>
                <a:latin typeface="Arial" panose="020B0604020202020204" pitchFamily="34" charset="0"/>
              </a:endParaRPr>
            </a:p>
          </p:txBody>
        </p:sp>
        <p:sp>
          <p:nvSpPr>
            <p:cNvPr id="16" name="Elipse 15">
              <a:hlinkClick r:id="" action="ppaction://noaction"/>
              <a:extLst>
                <a:ext uri="{FF2B5EF4-FFF2-40B4-BE49-F238E27FC236}">
                  <a16:creationId xmlns:a16="http://schemas.microsoft.com/office/drawing/2014/main" id="{06CAA99B-732D-2A8B-5581-5491212A26A5}"/>
                </a:ext>
              </a:extLst>
            </p:cNvPr>
            <p:cNvSpPr/>
            <p:nvPr/>
          </p:nvSpPr>
          <p:spPr>
            <a:xfrm>
              <a:off x="5342275" y="3944450"/>
              <a:ext cx="360000" cy="3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s-CL" b="1">
                  <a:solidFill>
                    <a:prstClr val="white"/>
                  </a:solidFill>
                  <a:latin typeface="Montserrat" panose="00000500000000000000" pitchFamily="2" charset="0"/>
                </a:rPr>
                <a:t>5</a:t>
              </a:r>
            </a:p>
          </p:txBody>
        </p:sp>
        <p:sp>
          <p:nvSpPr>
            <p:cNvPr id="17" name="Elipse 16">
              <a:hlinkClick r:id="" action="ppaction://noaction"/>
              <a:extLst>
                <a:ext uri="{FF2B5EF4-FFF2-40B4-BE49-F238E27FC236}">
                  <a16:creationId xmlns:a16="http://schemas.microsoft.com/office/drawing/2014/main" id="{93D12691-7D8F-0CEA-AFF1-275244FD9D79}"/>
                </a:ext>
              </a:extLst>
            </p:cNvPr>
            <p:cNvSpPr/>
            <p:nvPr/>
          </p:nvSpPr>
          <p:spPr>
            <a:xfrm>
              <a:off x="5349804" y="3387537"/>
              <a:ext cx="360000" cy="3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s-CL" b="1">
                  <a:solidFill>
                    <a:prstClr val="white"/>
                  </a:solidFill>
                  <a:latin typeface="Montserrat" panose="00000500000000000000" pitchFamily="2" charset="0"/>
                </a:rPr>
                <a:t>4</a:t>
              </a:r>
            </a:p>
          </p:txBody>
        </p:sp>
        <p:sp>
          <p:nvSpPr>
            <p:cNvPr id="18" name="Elipse 17">
              <a:hlinkClick r:id="" action="ppaction://noaction"/>
              <a:extLst>
                <a:ext uri="{FF2B5EF4-FFF2-40B4-BE49-F238E27FC236}">
                  <a16:creationId xmlns:a16="http://schemas.microsoft.com/office/drawing/2014/main" id="{CE07F0F5-E2D2-7B3E-E057-FACFB3C7DE07}"/>
                </a:ext>
              </a:extLst>
            </p:cNvPr>
            <p:cNvSpPr/>
            <p:nvPr/>
          </p:nvSpPr>
          <p:spPr>
            <a:xfrm>
              <a:off x="5349804" y="2830622"/>
              <a:ext cx="360000" cy="3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s-CL" b="1">
                  <a:solidFill>
                    <a:prstClr val="white"/>
                  </a:solidFill>
                  <a:latin typeface="Montserrat" panose="00000500000000000000" pitchFamily="2" charset="0"/>
                </a:rPr>
                <a:t>3</a:t>
              </a:r>
            </a:p>
          </p:txBody>
        </p:sp>
        <p:sp>
          <p:nvSpPr>
            <p:cNvPr id="21" name="Elipse 20">
              <a:hlinkClick r:id="" action="ppaction://noaction"/>
              <a:extLst>
                <a:ext uri="{FF2B5EF4-FFF2-40B4-BE49-F238E27FC236}">
                  <a16:creationId xmlns:a16="http://schemas.microsoft.com/office/drawing/2014/main" id="{A22FCBD8-9CDA-5FE0-2DC5-DCC9A5E2E97F}"/>
                </a:ext>
              </a:extLst>
            </p:cNvPr>
            <p:cNvSpPr/>
            <p:nvPr/>
          </p:nvSpPr>
          <p:spPr>
            <a:xfrm>
              <a:off x="5349804" y="2273709"/>
              <a:ext cx="360000" cy="3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s-CL" b="1">
                  <a:solidFill>
                    <a:prstClr val="white"/>
                  </a:solidFill>
                  <a:latin typeface="Montserrat" panose="00000500000000000000" pitchFamily="2" charset="0"/>
                </a:rPr>
                <a:t>2</a:t>
              </a:r>
            </a:p>
          </p:txBody>
        </p:sp>
        <p:pic>
          <p:nvPicPr>
            <p:cNvPr id="31" name="Gráfico 30" descr="Tranvía con relleno sólido">
              <a:extLst>
                <a:ext uri="{FF2B5EF4-FFF2-40B4-BE49-F238E27FC236}">
                  <a16:creationId xmlns:a16="http://schemas.microsoft.com/office/drawing/2014/main" id="{13B56D04-98C1-1525-25A6-5B2E85A3791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3980412" y="2708263"/>
              <a:ext cx="773011" cy="773011"/>
            </a:xfrm>
            <a:prstGeom prst="rect">
              <a:avLst/>
            </a:prstGeom>
          </p:spPr>
        </p:pic>
        <p:sp>
          <p:nvSpPr>
            <p:cNvPr id="45" name="CuadroTexto 44">
              <a:extLst>
                <a:ext uri="{FF2B5EF4-FFF2-40B4-BE49-F238E27FC236}">
                  <a16:creationId xmlns:a16="http://schemas.microsoft.com/office/drawing/2014/main" id="{0197A930-AF22-85B8-B46C-A6D875A99F24}"/>
                </a:ext>
              </a:extLst>
            </p:cNvPr>
            <p:cNvSpPr txBox="1"/>
            <p:nvPr/>
          </p:nvSpPr>
          <p:spPr>
            <a:xfrm>
              <a:off x="5702275" y="2299820"/>
              <a:ext cx="3662992" cy="307777"/>
            </a:xfrm>
            <a:prstGeom prst="rect">
              <a:avLst/>
            </a:prstGeom>
            <a:noFill/>
          </p:spPr>
          <p:txBody>
            <a:bodyPr wrap="square">
              <a:spAutoFit/>
            </a:bodyPr>
            <a:lstStyle/>
            <a:p>
              <a:pPr algn="l" fontAlgn="b"/>
              <a:r>
                <a:rPr lang="es-CL" sz="1400" b="1" u="none" strike="noStrike" dirty="0">
                  <a:solidFill>
                    <a:schemeClr val="tx1">
                      <a:lumMod val="75000"/>
                      <a:lumOff val="25000"/>
                    </a:schemeClr>
                  </a:solidFill>
                  <a:effectLst/>
                  <a:latin typeface="Montserrat" panose="00000500000000000000" pitchFamily="2" charset="0"/>
                </a:rPr>
                <a:t>Accesibilidad universal</a:t>
              </a:r>
              <a:endParaRPr lang="es-CL" sz="1400" b="1" i="0" u="none" strike="noStrike" dirty="0">
                <a:solidFill>
                  <a:schemeClr val="tx1">
                    <a:lumMod val="75000"/>
                    <a:lumOff val="25000"/>
                  </a:schemeClr>
                </a:solidFill>
                <a:effectLst/>
                <a:latin typeface="Montserrat" panose="00000500000000000000" pitchFamily="2" charset="0"/>
              </a:endParaRPr>
            </a:p>
          </p:txBody>
        </p:sp>
        <p:sp>
          <p:nvSpPr>
            <p:cNvPr id="46" name="CuadroTexto 45">
              <a:extLst>
                <a:ext uri="{FF2B5EF4-FFF2-40B4-BE49-F238E27FC236}">
                  <a16:creationId xmlns:a16="http://schemas.microsoft.com/office/drawing/2014/main" id="{02805553-4EF2-50BA-A497-E3B6D91427BC}"/>
                </a:ext>
              </a:extLst>
            </p:cNvPr>
            <p:cNvSpPr txBox="1"/>
            <p:nvPr/>
          </p:nvSpPr>
          <p:spPr>
            <a:xfrm>
              <a:off x="5709804" y="2872573"/>
              <a:ext cx="3662992" cy="307777"/>
            </a:xfrm>
            <a:prstGeom prst="rect">
              <a:avLst/>
            </a:prstGeom>
            <a:noFill/>
          </p:spPr>
          <p:txBody>
            <a:bodyPr wrap="square">
              <a:spAutoFit/>
            </a:bodyPr>
            <a:lstStyle/>
            <a:p>
              <a:pPr algn="l" fontAlgn="b"/>
              <a:r>
                <a:rPr lang="es-CL" sz="1400" b="1" u="none" strike="noStrike" dirty="0">
                  <a:solidFill>
                    <a:schemeClr val="tx1">
                      <a:lumMod val="75000"/>
                      <a:lumOff val="25000"/>
                    </a:schemeClr>
                  </a:solidFill>
                  <a:effectLst/>
                  <a:latin typeface="Montserrat" panose="00000500000000000000" pitchFamily="2" charset="0"/>
                </a:rPr>
                <a:t>Puertas de andén en Línea 1</a:t>
              </a:r>
              <a:endParaRPr lang="es-CL" sz="1400" b="1" i="0" u="none" strike="noStrike" dirty="0">
                <a:solidFill>
                  <a:schemeClr val="tx1">
                    <a:lumMod val="75000"/>
                    <a:lumOff val="25000"/>
                  </a:schemeClr>
                </a:solidFill>
                <a:effectLst/>
                <a:latin typeface="Montserrat" panose="00000500000000000000" pitchFamily="2" charset="0"/>
              </a:endParaRPr>
            </a:p>
          </p:txBody>
        </p:sp>
        <p:sp>
          <p:nvSpPr>
            <p:cNvPr id="47" name="CuadroTexto 46">
              <a:extLst>
                <a:ext uri="{FF2B5EF4-FFF2-40B4-BE49-F238E27FC236}">
                  <a16:creationId xmlns:a16="http://schemas.microsoft.com/office/drawing/2014/main" id="{96D96ABC-0712-1827-89D8-FFBCA459D9E3}"/>
                </a:ext>
              </a:extLst>
            </p:cNvPr>
            <p:cNvSpPr txBox="1"/>
            <p:nvPr/>
          </p:nvSpPr>
          <p:spPr>
            <a:xfrm>
              <a:off x="5697421" y="3413648"/>
              <a:ext cx="3662992" cy="307777"/>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s-CL" sz="1400" b="1" u="none" strike="noStrike" dirty="0">
                  <a:solidFill>
                    <a:schemeClr val="tx1">
                      <a:lumMod val="75000"/>
                      <a:lumOff val="25000"/>
                    </a:schemeClr>
                  </a:solidFill>
                  <a:effectLst/>
                  <a:latin typeface="Montserrat" panose="00000500000000000000" pitchFamily="2" charset="0"/>
                </a:rPr>
                <a:t>Trenes</a:t>
              </a:r>
              <a:endParaRPr lang="es-CL" sz="1400" b="1" i="0" u="none" strike="noStrike" dirty="0">
                <a:solidFill>
                  <a:schemeClr val="tx1">
                    <a:lumMod val="75000"/>
                    <a:lumOff val="25000"/>
                  </a:schemeClr>
                </a:solidFill>
                <a:effectLst/>
                <a:latin typeface="Montserrat" panose="00000500000000000000" pitchFamily="2" charset="0"/>
              </a:endParaRPr>
            </a:p>
          </p:txBody>
        </p:sp>
        <p:sp>
          <p:nvSpPr>
            <p:cNvPr id="48" name="CuadroTexto 47">
              <a:extLst>
                <a:ext uri="{FF2B5EF4-FFF2-40B4-BE49-F238E27FC236}">
                  <a16:creationId xmlns:a16="http://schemas.microsoft.com/office/drawing/2014/main" id="{217E0DCF-68C4-050C-C611-58E3723CC8AA}"/>
                </a:ext>
              </a:extLst>
            </p:cNvPr>
            <p:cNvSpPr txBox="1"/>
            <p:nvPr/>
          </p:nvSpPr>
          <p:spPr>
            <a:xfrm>
              <a:off x="5697421" y="3859456"/>
              <a:ext cx="3662992" cy="523220"/>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s-CL" sz="1400" b="1" u="none" strike="noStrike" dirty="0">
                  <a:solidFill>
                    <a:schemeClr val="tx1">
                      <a:lumMod val="75000"/>
                      <a:lumOff val="25000"/>
                    </a:schemeClr>
                  </a:solidFill>
                  <a:effectLst/>
                  <a:latin typeface="Montserrat" panose="00000500000000000000" pitchFamily="2" charset="0"/>
                </a:rPr>
                <a:t>Mejoramiento de estaciones y comunicaciones</a:t>
              </a:r>
              <a:endParaRPr lang="es-CL" sz="1400" b="1" i="0" u="none" strike="noStrike" dirty="0">
                <a:solidFill>
                  <a:schemeClr val="tx1">
                    <a:lumMod val="75000"/>
                    <a:lumOff val="25000"/>
                  </a:schemeClr>
                </a:solidFill>
                <a:effectLst/>
                <a:latin typeface="Montserrat" panose="00000500000000000000" pitchFamily="2" charset="0"/>
              </a:endParaRPr>
            </a:p>
          </p:txBody>
        </p:sp>
      </p:grpSp>
      <p:grpSp>
        <p:nvGrpSpPr>
          <p:cNvPr id="55" name="Grupo 54">
            <a:extLst>
              <a:ext uri="{FF2B5EF4-FFF2-40B4-BE49-F238E27FC236}">
                <a16:creationId xmlns:a16="http://schemas.microsoft.com/office/drawing/2014/main" id="{CE6901A9-C7DE-9898-BF26-6087730859CE}"/>
              </a:ext>
            </a:extLst>
          </p:cNvPr>
          <p:cNvGrpSpPr/>
          <p:nvPr/>
        </p:nvGrpSpPr>
        <p:grpSpPr>
          <a:xfrm>
            <a:off x="3649330" y="4422274"/>
            <a:ext cx="5780499" cy="1627729"/>
            <a:chOff x="3649330" y="4422274"/>
            <a:chExt cx="5780499" cy="1627729"/>
          </a:xfrm>
        </p:grpSpPr>
        <p:sp>
          <p:nvSpPr>
            <p:cNvPr id="8" name="Rectángulo: esquinas redondeadas 7">
              <a:extLst>
                <a:ext uri="{FF2B5EF4-FFF2-40B4-BE49-F238E27FC236}">
                  <a16:creationId xmlns:a16="http://schemas.microsoft.com/office/drawing/2014/main" id="{11D5CC3F-46E3-180A-E511-794BDCBBA33B}"/>
                </a:ext>
              </a:extLst>
            </p:cNvPr>
            <p:cNvSpPr/>
            <p:nvPr/>
          </p:nvSpPr>
          <p:spPr>
            <a:xfrm>
              <a:off x="3649330" y="4422274"/>
              <a:ext cx="1445589" cy="1626360"/>
            </a:xfrm>
            <a:prstGeom prst="roundRect">
              <a:avLst>
                <a:gd name="adj" fmla="val 1650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b"/>
            <a:lstStyle/>
            <a:p>
              <a:pPr algn="ctr" defTabSz="914377" fontAlgn="b">
                <a:defRPr/>
              </a:pPr>
              <a:r>
                <a:rPr lang="es-CL" sz="1400" b="1">
                  <a:solidFill>
                    <a:prstClr val="black">
                      <a:lumMod val="65000"/>
                      <a:lumOff val="35000"/>
                    </a:prstClr>
                  </a:solidFill>
                  <a:latin typeface="Montserrat" panose="00000500000000000000" pitchFamily="2" charset="0"/>
                </a:rPr>
                <a:t>Renovación de activos</a:t>
              </a:r>
            </a:p>
          </p:txBody>
        </p:sp>
        <p:sp>
          <p:nvSpPr>
            <p:cNvPr id="11" name="Rectángulo: esquinas redondeadas 10">
              <a:extLst>
                <a:ext uri="{FF2B5EF4-FFF2-40B4-BE49-F238E27FC236}">
                  <a16:creationId xmlns:a16="http://schemas.microsoft.com/office/drawing/2014/main" id="{9CDCD830-3579-AC79-CDBE-BA0363A9DD69}"/>
                </a:ext>
              </a:extLst>
            </p:cNvPr>
            <p:cNvSpPr/>
            <p:nvPr/>
          </p:nvSpPr>
          <p:spPr>
            <a:xfrm>
              <a:off x="5271246" y="4423643"/>
              <a:ext cx="4158583" cy="1626360"/>
            </a:xfrm>
            <a:prstGeom prst="roundRect">
              <a:avLst>
                <a:gd name="adj" fmla="val 8178"/>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s-CL">
                <a:solidFill>
                  <a:prstClr val="white"/>
                </a:solidFill>
                <a:latin typeface="Montserrat" panose="00000500000000000000" pitchFamily="2" charset="0"/>
              </a:endParaRPr>
            </a:p>
          </p:txBody>
        </p:sp>
        <p:sp>
          <p:nvSpPr>
            <p:cNvPr id="15" name="Elipse 14">
              <a:hlinkClick r:id="" action="ppaction://noaction"/>
              <a:extLst>
                <a:ext uri="{FF2B5EF4-FFF2-40B4-BE49-F238E27FC236}">
                  <a16:creationId xmlns:a16="http://schemas.microsoft.com/office/drawing/2014/main" id="{AFDB0360-59F5-D5EE-45A7-12C4BAD0877F}"/>
                </a:ext>
              </a:extLst>
            </p:cNvPr>
            <p:cNvSpPr/>
            <p:nvPr/>
          </p:nvSpPr>
          <p:spPr>
            <a:xfrm>
              <a:off x="5368399" y="5615191"/>
              <a:ext cx="360000" cy="3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s-CL" b="1">
                  <a:solidFill>
                    <a:prstClr val="white"/>
                  </a:solidFill>
                  <a:latin typeface="Montserrat" panose="00000500000000000000" pitchFamily="2" charset="0"/>
                </a:rPr>
                <a:t>8</a:t>
              </a:r>
            </a:p>
          </p:txBody>
        </p:sp>
        <p:sp>
          <p:nvSpPr>
            <p:cNvPr id="19" name="Elipse 18">
              <a:hlinkClick r:id="" action="ppaction://noaction"/>
              <a:extLst>
                <a:ext uri="{FF2B5EF4-FFF2-40B4-BE49-F238E27FC236}">
                  <a16:creationId xmlns:a16="http://schemas.microsoft.com/office/drawing/2014/main" id="{D0A45511-8CB1-310A-7060-FCFF6CD314E7}"/>
                </a:ext>
              </a:extLst>
            </p:cNvPr>
            <p:cNvSpPr/>
            <p:nvPr/>
          </p:nvSpPr>
          <p:spPr>
            <a:xfrm>
              <a:off x="5349804" y="5058278"/>
              <a:ext cx="360000" cy="3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s-CL" b="1">
                  <a:solidFill>
                    <a:prstClr val="white"/>
                  </a:solidFill>
                  <a:latin typeface="Montserrat" panose="00000500000000000000" pitchFamily="2" charset="0"/>
                </a:rPr>
                <a:t>7</a:t>
              </a:r>
            </a:p>
          </p:txBody>
        </p:sp>
        <p:sp>
          <p:nvSpPr>
            <p:cNvPr id="20" name="Elipse 19">
              <a:hlinkClick r:id="" action="ppaction://noaction"/>
              <a:extLst>
                <a:ext uri="{FF2B5EF4-FFF2-40B4-BE49-F238E27FC236}">
                  <a16:creationId xmlns:a16="http://schemas.microsoft.com/office/drawing/2014/main" id="{05F2E712-7523-A6F2-FEB7-49C4493CD9D2}"/>
                </a:ext>
              </a:extLst>
            </p:cNvPr>
            <p:cNvSpPr/>
            <p:nvPr/>
          </p:nvSpPr>
          <p:spPr>
            <a:xfrm>
              <a:off x="5349804" y="4501365"/>
              <a:ext cx="360000" cy="360000"/>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s-CL" b="1">
                  <a:solidFill>
                    <a:prstClr val="white"/>
                  </a:solidFill>
                  <a:latin typeface="Montserrat" panose="00000500000000000000" pitchFamily="2" charset="0"/>
                </a:rPr>
                <a:t>6</a:t>
              </a:r>
            </a:p>
          </p:txBody>
        </p:sp>
        <p:pic>
          <p:nvPicPr>
            <p:cNvPr id="33" name="Gráfico 32" descr="Engranajes con relleno sólido">
              <a:extLst>
                <a:ext uri="{FF2B5EF4-FFF2-40B4-BE49-F238E27FC236}">
                  <a16:creationId xmlns:a16="http://schemas.microsoft.com/office/drawing/2014/main" id="{1F030E9B-03ED-6CA6-D257-ED4FB9BE730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3968184" y="4570065"/>
              <a:ext cx="914400" cy="914400"/>
            </a:xfrm>
            <a:prstGeom prst="rect">
              <a:avLst/>
            </a:prstGeom>
          </p:spPr>
        </p:pic>
        <p:sp>
          <p:nvSpPr>
            <p:cNvPr id="50" name="CuadroTexto 49">
              <a:extLst>
                <a:ext uri="{FF2B5EF4-FFF2-40B4-BE49-F238E27FC236}">
                  <a16:creationId xmlns:a16="http://schemas.microsoft.com/office/drawing/2014/main" id="{3401F501-C0C8-09ED-8353-E6157187A3C4}"/>
                </a:ext>
              </a:extLst>
            </p:cNvPr>
            <p:cNvSpPr txBox="1"/>
            <p:nvPr/>
          </p:nvSpPr>
          <p:spPr>
            <a:xfrm>
              <a:off x="5727685" y="4514179"/>
              <a:ext cx="3662992" cy="307777"/>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s-CL" sz="1400" b="1" u="none" strike="noStrike" dirty="0">
                  <a:solidFill>
                    <a:schemeClr val="tx1">
                      <a:lumMod val="75000"/>
                      <a:lumOff val="25000"/>
                    </a:schemeClr>
                  </a:solidFill>
                  <a:effectLst/>
                  <a:latin typeface="Montserrat" panose="00000500000000000000" pitchFamily="2" charset="0"/>
                </a:rPr>
                <a:t>Señalización y Vías</a:t>
              </a:r>
              <a:endParaRPr lang="es-CL" sz="1400" b="1" i="0" u="none" strike="noStrike" dirty="0">
                <a:solidFill>
                  <a:schemeClr val="tx1">
                    <a:lumMod val="75000"/>
                    <a:lumOff val="25000"/>
                  </a:schemeClr>
                </a:solidFill>
                <a:effectLst/>
                <a:latin typeface="Montserrat" panose="00000500000000000000" pitchFamily="2" charset="0"/>
              </a:endParaRPr>
            </a:p>
          </p:txBody>
        </p:sp>
        <p:sp>
          <p:nvSpPr>
            <p:cNvPr id="51" name="CuadroTexto 50">
              <a:extLst>
                <a:ext uri="{FF2B5EF4-FFF2-40B4-BE49-F238E27FC236}">
                  <a16:creationId xmlns:a16="http://schemas.microsoft.com/office/drawing/2014/main" id="{A134BAD7-BD79-AC87-F675-0D07A10E567B}"/>
                </a:ext>
              </a:extLst>
            </p:cNvPr>
            <p:cNvSpPr txBox="1"/>
            <p:nvPr/>
          </p:nvSpPr>
          <p:spPr>
            <a:xfrm>
              <a:off x="5736699" y="4971794"/>
              <a:ext cx="3662992" cy="523220"/>
            </a:xfrm>
            <a:prstGeom prst="rect">
              <a:avLst/>
            </a:prstGeom>
            <a:noFill/>
          </p:spPr>
          <p:txBody>
            <a:bodyPr wrap="square">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s-CL" sz="1400" b="1" i="0" dirty="0">
                  <a:solidFill>
                    <a:schemeClr val="tx1">
                      <a:lumMod val="75000"/>
                      <a:lumOff val="25000"/>
                    </a:schemeClr>
                  </a:solidFill>
                  <a:latin typeface="Montserrat" panose="00000500000000000000" pitchFamily="2" charset="0"/>
                </a:rPr>
                <a:t>Infraestructura de operaciones y mantenimiento</a:t>
              </a:r>
              <a:endParaRPr lang="es-CL" sz="1400" b="1" i="0" u="none" strike="noStrike" dirty="0">
                <a:solidFill>
                  <a:schemeClr val="tx1">
                    <a:lumMod val="75000"/>
                    <a:lumOff val="25000"/>
                  </a:schemeClr>
                </a:solidFill>
                <a:effectLst/>
                <a:latin typeface="Montserrat" panose="00000500000000000000" pitchFamily="2" charset="0"/>
              </a:endParaRPr>
            </a:p>
          </p:txBody>
        </p:sp>
        <p:sp>
          <p:nvSpPr>
            <p:cNvPr id="52" name="CuadroTexto 51">
              <a:extLst>
                <a:ext uri="{FF2B5EF4-FFF2-40B4-BE49-F238E27FC236}">
                  <a16:creationId xmlns:a16="http://schemas.microsoft.com/office/drawing/2014/main" id="{F52745B1-AF3D-B88E-8FE1-55F82C8E54EF}"/>
                </a:ext>
              </a:extLst>
            </p:cNvPr>
            <p:cNvSpPr txBox="1"/>
            <p:nvPr/>
          </p:nvSpPr>
          <p:spPr>
            <a:xfrm>
              <a:off x="5722831" y="5628007"/>
              <a:ext cx="3662992" cy="307777"/>
            </a:xfrm>
            <a:prstGeom prst="rect">
              <a:avLst/>
            </a:prstGeom>
            <a:noFill/>
          </p:spPr>
          <p:txBody>
            <a:bodyPr wrap="square">
              <a:spAutoFit/>
            </a:bodyPr>
            <a:lstStyle/>
            <a:p>
              <a:pPr algn="l" fontAlgn="b"/>
              <a:r>
                <a:rPr lang="es-CL" sz="1400" b="1" i="0" u="none" strike="noStrike" dirty="0">
                  <a:solidFill>
                    <a:schemeClr val="tx1">
                      <a:lumMod val="75000"/>
                      <a:lumOff val="25000"/>
                    </a:schemeClr>
                  </a:solidFill>
                  <a:effectLst/>
                  <a:latin typeface="Montserrat" panose="00000500000000000000" pitchFamily="2" charset="0"/>
                </a:rPr>
                <a:t>Sistemas</a:t>
              </a:r>
            </a:p>
          </p:txBody>
        </p:sp>
      </p:grpSp>
    </p:spTree>
    <p:extLst>
      <p:ext uri="{BB962C8B-B14F-4D97-AF65-F5344CB8AC3E}">
        <p14:creationId xmlns:p14="http://schemas.microsoft.com/office/powerpoint/2010/main" val="1528397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s 3">
      <a:dk1>
        <a:srgbClr val="000000"/>
      </a:dk1>
      <a:lt1>
        <a:srgbClr val="FFFFFF"/>
      </a:lt1>
      <a:dk2>
        <a:srgbClr val="1E1C26"/>
      </a:dk2>
      <a:lt2>
        <a:srgbClr val="E8E8E8"/>
      </a:lt2>
      <a:accent1>
        <a:srgbClr val="D60F25"/>
      </a:accent1>
      <a:accent2>
        <a:srgbClr val="0071CE"/>
      </a:accent2>
      <a:accent3>
        <a:srgbClr val="009658"/>
      </a:accent3>
      <a:accent4>
        <a:srgbClr val="F9B500"/>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49d5fa0-5fcc-434a-9d05-abdebfb247b8">
      <Terms xmlns="http://schemas.microsoft.com/office/infopath/2007/PartnerControls"/>
    </lcf76f155ced4ddcb4097134ff3c332f>
    <TaxCatchAll xmlns="0b52e4a9-a92b-4e24-817b-7bc323c8f46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322F58AB489BEA4FAEA6AF7B80E7AC38" ma:contentTypeVersion="15" ma:contentTypeDescription="Crear nuevo documento." ma:contentTypeScope="" ma:versionID="c73d5843a2de92ae4e2e92a453b3e996">
  <xsd:schema xmlns:xsd="http://www.w3.org/2001/XMLSchema" xmlns:xs="http://www.w3.org/2001/XMLSchema" xmlns:p="http://schemas.microsoft.com/office/2006/metadata/properties" xmlns:ns2="e49d5fa0-5fcc-434a-9d05-abdebfb247b8" xmlns:ns3="0b52e4a9-a92b-4e24-817b-7bc323c8f465" targetNamespace="http://schemas.microsoft.com/office/2006/metadata/properties" ma:root="true" ma:fieldsID="86cb008648a2e7caf8d4e8d8ac4b7624" ns2:_="" ns3:_="">
    <xsd:import namespace="e49d5fa0-5fcc-434a-9d05-abdebfb247b8"/>
    <xsd:import namespace="0b52e4a9-a92b-4e24-817b-7bc323c8f46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9d5fa0-5fcc-434a-9d05-abdebfb247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Etiquetas de imagen" ma:readOnly="false" ma:fieldId="{5cf76f15-5ced-4ddc-b409-7134ff3c332f}" ma:taxonomyMulti="true" ma:sspId="81cb4768-279b-4e82-a280-cd5de0b8ae4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b52e4a9-a92b-4e24-817b-7bc323c8f465" elementFormDefault="qualified">
    <xsd:import namespace="http://schemas.microsoft.com/office/2006/documentManagement/types"/>
    <xsd:import namespace="http://schemas.microsoft.com/office/infopath/2007/PartnerControls"/>
    <xsd:element name="SharedWithUsers" ma:index="12"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les de uso compartido" ma:internalName="SharedWithDetails" ma:readOnly="true">
      <xsd:simpleType>
        <xsd:restriction base="dms:Note">
          <xsd:maxLength value="255"/>
        </xsd:restriction>
      </xsd:simpleType>
    </xsd:element>
    <xsd:element name="TaxCatchAll" ma:index="16" nillable="true" ma:displayName="Taxonomy Catch All Column" ma:hidden="true" ma:list="{0e4bcf0e-d02f-4117-ac08-bff630e4f3d5}" ma:internalName="TaxCatchAll" ma:showField="CatchAllData" ma:web="0b52e4a9-a92b-4e24-817b-7bc323c8f46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714F21-07E6-4371-A97E-00D9DB680BC9}">
  <ds:schemaRefs>
    <ds:schemaRef ds:uri="http://purl.org/dc/dcmitype/"/>
    <ds:schemaRef ds:uri="http://www.w3.org/XML/1998/namespace"/>
    <ds:schemaRef ds:uri="http://schemas.microsoft.com/office/2006/documentManagement/types"/>
    <ds:schemaRef ds:uri="http://purl.org/dc/elements/1.1/"/>
    <ds:schemaRef ds:uri="e49d5fa0-5fcc-434a-9d05-abdebfb247b8"/>
    <ds:schemaRef ds:uri="http://schemas.microsoft.com/office/2006/metadata/properties"/>
    <ds:schemaRef ds:uri="http://purl.org/dc/terms/"/>
    <ds:schemaRef ds:uri="http://schemas.microsoft.com/office/infopath/2007/PartnerControls"/>
    <ds:schemaRef ds:uri="http://schemas.openxmlformats.org/package/2006/metadata/core-properties"/>
    <ds:schemaRef ds:uri="0b52e4a9-a92b-4e24-817b-7bc323c8f465"/>
  </ds:schemaRefs>
</ds:datastoreItem>
</file>

<file path=customXml/itemProps2.xml><?xml version="1.0" encoding="utf-8"?>
<ds:datastoreItem xmlns:ds="http://schemas.openxmlformats.org/officeDocument/2006/customXml" ds:itemID="{A9F82C91-FD83-4C62-BEC2-3AFDE1FC65CD}">
  <ds:schemaRefs>
    <ds:schemaRef ds:uri="http://schemas.microsoft.com/sharepoint/v3/contenttype/forms"/>
  </ds:schemaRefs>
</ds:datastoreItem>
</file>

<file path=customXml/itemProps3.xml><?xml version="1.0" encoding="utf-8"?>
<ds:datastoreItem xmlns:ds="http://schemas.openxmlformats.org/officeDocument/2006/customXml" ds:itemID="{9EE90B26-3F67-4417-A1C4-3FB6807933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9d5fa0-5fcc-434a-9d05-abdebfb247b8"/>
    <ds:schemaRef ds:uri="0b52e4a9-a92b-4e24-817b-7bc323c8f46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100</TotalTime>
  <Words>1497</Words>
  <Application>Microsoft Office PowerPoint</Application>
  <PresentationFormat>Panorámica</PresentationFormat>
  <Paragraphs>288</Paragraphs>
  <Slides>16</Slides>
  <Notes>7</Notes>
  <HiddenSlides>3</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6</vt:i4>
      </vt:variant>
    </vt:vector>
  </HeadingPairs>
  <TitlesOfParts>
    <vt:vector size="24" baseType="lpstr">
      <vt:lpstr>Aptos</vt:lpstr>
      <vt:lpstr>Arial</vt:lpstr>
      <vt:lpstr>Calibri</vt:lpstr>
      <vt:lpstr>Century Gothic</vt:lpstr>
      <vt:lpstr>Montserrat</vt:lpstr>
      <vt:lpstr>Wingdings</vt:lpstr>
      <vt:lpstr>Tema de Office</vt:lpstr>
      <vt:lpstr>Diapositiva de think-cell</vt:lpstr>
      <vt:lpstr>Modernización de la Red</vt:lpstr>
      <vt:lpstr>Septiembre 2025  Metro de Santiago  cumple 50 años</vt:lpstr>
      <vt:lpstr>¿Cuál es el objetivo principal de modernizar la red convencional?</vt:lpstr>
      <vt:lpstr>“Un cliente, dos experiencias diferentes”</vt:lpstr>
      <vt:lpstr>¿Quiénes participaron del proceso?</vt:lpstr>
      <vt:lpstr>Escuchamos a las y los trabajadores</vt:lpstr>
      <vt:lpstr>Salimos a mirar el mundo</vt:lpstr>
      <vt:lpstr>Así finalizamos el proceso de definición</vt:lpstr>
      <vt:lpstr>Se concluye en tres ejes de trabajo y ocho categorías</vt:lpstr>
      <vt:lpstr>Proyectos en curso</vt:lpstr>
      <vt:lpstr>Anteproyectos</vt:lpstr>
      <vt:lpstr>Cronograma</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Tomas Figueroa</dc:creator>
  <cp:lastModifiedBy>Rodrigo Fuentes</cp:lastModifiedBy>
  <cp:revision>80</cp:revision>
  <dcterms:created xsi:type="dcterms:W3CDTF">2024-03-14T18:04:53Z</dcterms:created>
  <dcterms:modified xsi:type="dcterms:W3CDTF">2024-12-16T19:4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2F58AB489BEA4FAEA6AF7B80E7AC38</vt:lpwstr>
  </property>
  <property fmtid="{D5CDD505-2E9C-101B-9397-08002B2CF9AE}" pid="3" name="MediaServiceImageTags">
    <vt:lpwstr/>
  </property>
</Properties>
</file>